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  <p:sldMasterId id="2147483680" r:id="rId5"/>
    <p:sldMasterId id="2147483723" r:id="rId6"/>
  </p:sldMasterIdLst>
  <p:notesMasterIdLst>
    <p:notesMasterId r:id="rId63"/>
  </p:notesMasterIdLst>
  <p:handoutMasterIdLst>
    <p:handoutMasterId r:id="rId64"/>
  </p:handoutMasterIdLst>
  <p:sldIdLst>
    <p:sldId id="575" r:id="rId7"/>
    <p:sldId id="274" r:id="rId8"/>
    <p:sldId id="577" r:id="rId9"/>
    <p:sldId id="578" r:id="rId10"/>
    <p:sldId id="579" r:id="rId11"/>
    <p:sldId id="580" r:id="rId12"/>
    <p:sldId id="581" r:id="rId13"/>
    <p:sldId id="582" r:id="rId14"/>
    <p:sldId id="583" r:id="rId15"/>
    <p:sldId id="584" r:id="rId16"/>
    <p:sldId id="586" r:id="rId17"/>
    <p:sldId id="585" r:id="rId18"/>
    <p:sldId id="590" r:id="rId19"/>
    <p:sldId id="591" r:id="rId20"/>
    <p:sldId id="587" r:id="rId21"/>
    <p:sldId id="592" r:id="rId22"/>
    <p:sldId id="593" r:id="rId23"/>
    <p:sldId id="588" r:id="rId24"/>
    <p:sldId id="594" r:id="rId25"/>
    <p:sldId id="589" r:id="rId26"/>
    <p:sldId id="595" r:id="rId27"/>
    <p:sldId id="596" r:id="rId28"/>
    <p:sldId id="597" r:id="rId29"/>
    <p:sldId id="598" r:id="rId30"/>
    <p:sldId id="599" r:id="rId31"/>
    <p:sldId id="600" r:id="rId32"/>
    <p:sldId id="601" r:id="rId33"/>
    <p:sldId id="602" r:id="rId34"/>
    <p:sldId id="603" r:id="rId35"/>
    <p:sldId id="604" r:id="rId36"/>
    <p:sldId id="605" r:id="rId37"/>
    <p:sldId id="606" r:id="rId38"/>
    <p:sldId id="607" r:id="rId39"/>
    <p:sldId id="576" r:id="rId40"/>
    <p:sldId id="608" r:id="rId41"/>
    <p:sldId id="609" r:id="rId42"/>
    <p:sldId id="613" r:id="rId43"/>
    <p:sldId id="614" r:id="rId44"/>
    <p:sldId id="615" r:id="rId45"/>
    <p:sldId id="616" r:id="rId46"/>
    <p:sldId id="610" r:id="rId47"/>
    <p:sldId id="611" r:id="rId48"/>
    <p:sldId id="612" r:id="rId49"/>
    <p:sldId id="617" r:id="rId50"/>
    <p:sldId id="618" r:id="rId51"/>
    <p:sldId id="619" r:id="rId52"/>
    <p:sldId id="620" r:id="rId53"/>
    <p:sldId id="621" r:id="rId54"/>
    <p:sldId id="622" r:id="rId55"/>
    <p:sldId id="623" r:id="rId56"/>
    <p:sldId id="624" r:id="rId57"/>
    <p:sldId id="625" r:id="rId58"/>
    <p:sldId id="626" r:id="rId59"/>
    <p:sldId id="627" r:id="rId60"/>
    <p:sldId id="628" r:id="rId61"/>
    <p:sldId id="259" r:id="rId62"/>
  </p:sldIdLst>
  <p:sldSz cx="9144000" cy="6858000" type="screen4x3"/>
  <p:notesSz cx="9940925" cy="6808788"/>
  <p:custDataLst>
    <p:tags r:id="rId6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ecion " id="{F26B8C04-83C4-488C-8DA3-CA4AD9B029BA}">
          <p14:sldIdLst>
            <p14:sldId id="575"/>
          </p14:sldIdLst>
        </p14:section>
        <p14:section name="Computer Forensic Fundementals" id="{29FAF0B9-9745-41DE-BE94-50C1B2BD2A42}">
          <p14:sldIdLst>
            <p14:sldId id="274"/>
            <p14:sldId id="577"/>
            <p14:sldId id="578"/>
            <p14:sldId id="579"/>
            <p14:sldId id="580"/>
            <p14:sldId id="581"/>
            <p14:sldId id="582"/>
            <p14:sldId id="583"/>
            <p14:sldId id="584"/>
            <p14:sldId id="586"/>
            <p14:sldId id="585"/>
            <p14:sldId id="590"/>
            <p14:sldId id="591"/>
            <p14:sldId id="587"/>
            <p14:sldId id="592"/>
            <p14:sldId id="593"/>
            <p14:sldId id="588"/>
            <p14:sldId id="594"/>
            <p14:sldId id="589"/>
            <p14:sldId id="595"/>
            <p14:sldId id="596"/>
            <p14:sldId id="597"/>
            <p14:sldId id="598"/>
            <p14:sldId id="599"/>
            <p14:sldId id="600"/>
            <p14:sldId id="601"/>
            <p14:sldId id="602"/>
            <p14:sldId id="603"/>
            <p14:sldId id="604"/>
            <p14:sldId id="605"/>
            <p14:sldId id="606"/>
            <p14:sldId id="607"/>
          </p14:sldIdLst>
        </p14:section>
        <p14:section name="Comptuer Forensic Investigation Process" id="{8BD3AA33-989A-4C22-9593-9D456E8FF4AB}">
          <p14:sldIdLst>
            <p14:sldId id="576"/>
            <p14:sldId id="608"/>
            <p14:sldId id="609"/>
            <p14:sldId id="613"/>
            <p14:sldId id="614"/>
            <p14:sldId id="615"/>
            <p14:sldId id="616"/>
            <p14:sldId id="610"/>
            <p14:sldId id="611"/>
            <p14:sldId id="612"/>
            <p14:sldId id="617"/>
            <p14:sldId id="618"/>
            <p14:sldId id="619"/>
            <p14:sldId id="620"/>
            <p14:sldId id="621"/>
            <p14:sldId id="622"/>
            <p14:sldId id="623"/>
            <p14:sldId id="624"/>
            <p14:sldId id="625"/>
            <p14:sldId id="626"/>
            <p14:sldId id="627"/>
            <p14:sldId id="628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DC05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1771" autoAdjust="0"/>
  </p:normalViewPr>
  <p:slideViewPr>
    <p:cSldViewPr snapToGrid="0" snapToObjects="1">
      <p:cViewPr varScale="1">
        <p:scale>
          <a:sx n="75" d="100"/>
          <a:sy n="75" d="100"/>
        </p:scale>
        <p:origin x="169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1819" y="5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4FDED8-165C-4696-8639-EA92ED4231D2}" type="doc">
      <dgm:prSet loTypeId="urn:microsoft.com/office/officeart/2005/8/layout/default" loCatId="list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en-US"/>
        </a:p>
      </dgm:t>
    </dgm:pt>
    <dgm:pt modelId="{C0555DD3-26AE-41C7-8027-9FDEDE7B8AF0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Espionage</a:t>
          </a:r>
        </a:p>
      </dgm:t>
    </dgm:pt>
    <dgm:pt modelId="{5672733E-F758-4430-89C7-8DB756E06A9A}" type="parTrans" cxnId="{D12FF99D-5184-45D1-B8C3-7689C1A4D6DD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3C6952D-D64D-4ADF-84D9-DDD672E29062}" type="sibTrans" cxnId="{D12FF99D-5184-45D1-B8C3-7689C1A4D6DD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E7AD042-018B-4163-83D4-EC894CE00A4C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Trojan Horse</a:t>
          </a:r>
        </a:p>
      </dgm:t>
    </dgm:pt>
    <dgm:pt modelId="{14DB382D-74AD-432F-A45B-5280753FBD65}" type="parTrans" cxnId="{5257EA96-52F4-4F47-8758-5769109DC91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364EA4B-704D-4054-95F4-D078C6297122}" type="sibTrans" cxnId="{5257EA96-52F4-4F47-8758-5769109DC91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F889C41A-EBA2-4DEA-9664-8C2F60F173BF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Brute-Force</a:t>
          </a:r>
        </a:p>
      </dgm:t>
    </dgm:pt>
    <dgm:pt modelId="{6DF35793-C87A-42C1-88EF-FEC45DA1C6A6}" type="parTrans" cxnId="{534BA4DD-B74B-4FCE-BAE4-81CF70ED75D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A1D8228B-3D26-47F0-92F4-AD78D8355BD5}" type="sibTrans" cxnId="{534BA4DD-B74B-4FCE-BAE4-81CF70ED75D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520CED5-A7C2-45C9-BCE7-791E94C13EC6}">
      <dgm:prSet phldrT="[Text]"/>
      <dgm:spPr>
        <a:solidFill>
          <a:srgbClr val="7030A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DoS</a:t>
          </a:r>
        </a:p>
      </dgm:t>
    </dgm:pt>
    <dgm:pt modelId="{83E11DF6-2F1E-4F09-B2CB-B86E324820C0}" type="parTrans" cxnId="{C30278D1-48AE-412F-B86F-1AED0026C2F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729207A-7FFA-4C7E-B08E-64F3AE8B67EE}" type="sibTrans" cxnId="{C30278D1-48AE-412F-B86F-1AED0026C2F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79D1813-1DC8-4388-8572-223ACAEFA8FA}">
      <dgm:prSet phldrT="[Text]"/>
      <dgm:spPr>
        <a:solidFill>
          <a:srgbClr val="00B0F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Theft of Intellectual Property</a:t>
          </a:r>
        </a:p>
      </dgm:t>
    </dgm:pt>
    <dgm:pt modelId="{90D57747-B7D8-444C-B1F7-104809B82001}" type="parTrans" cxnId="{0A31BB15-49E5-4135-91DF-1F43263DADB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58997BD-2FD2-42B5-8B9D-290A59DC3A60}" type="sibTrans" cxnId="{0A31BB15-49E5-4135-91DF-1F43263DADB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9406FAAE-764C-4FD3-A4CD-088761E37805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Manipulation of Data</a:t>
          </a:r>
        </a:p>
      </dgm:t>
    </dgm:pt>
    <dgm:pt modelId="{40D75CD4-F2B7-44A4-8C4B-7054856B7B73}" type="parTrans" cxnId="{7EBD54D1-B6FE-4163-8E9F-EA8E37C0443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99F1846-6C06-459E-B5AC-1CD0FABD036B}" type="sibTrans" cxnId="{7EBD54D1-B6FE-4163-8E9F-EA8E37C0443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E49B4D3-2E11-447F-91E2-60B429553F4F}">
      <dgm:prSet phldrT="[Text]"/>
      <dgm:spPr>
        <a:solidFill>
          <a:srgbClr val="C0000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SQL Injection</a:t>
          </a:r>
        </a:p>
      </dgm:t>
    </dgm:pt>
    <dgm:pt modelId="{27F367DB-B38B-49E2-9EEE-D5B3A4AE3AA0}" type="parTrans" cxnId="{6A461877-F924-4BE0-A2C0-9A3EADF2D080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F9909DCA-8A18-48E6-AF45-13FAACD36B4B}" type="sibTrans" cxnId="{6A461877-F924-4BE0-A2C0-9A3EADF2D080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72961CE9-BDB6-48CA-9735-024723E786EF}">
      <dgm:prSet phldrT="[Text]"/>
      <dgm:spPr>
        <a:solidFill>
          <a:srgbClr val="FF000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Phishing/Spoofing</a:t>
          </a:r>
        </a:p>
      </dgm:t>
    </dgm:pt>
    <dgm:pt modelId="{EE8DF3CB-96C1-44BA-8011-77E95F396F13}" type="parTrans" cxnId="{6180C713-ED07-4B89-9045-78C06D56BB5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16EE7A8-5DA1-4F38-8550-C70F7842DB4E}" type="sibTrans" cxnId="{6180C713-ED07-4B89-9045-78C06D56BB5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59D5941-6163-4DA3-9137-DBCC82732CE2}">
      <dgm:prSet phldrT="[Text]"/>
      <dgm:spPr>
        <a:solidFill>
          <a:srgbClr val="FFC00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Privilege Escalation</a:t>
          </a:r>
        </a:p>
      </dgm:t>
    </dgm:pt>
    <dgm:pt modelId="{62EDE3E3-96F4-4107-8CF7-C74C582AC2FB}" type="parTrans" cxnId="{AECDBB9E-A66B-4F65-84F6-3D88FE2D774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94FA87F-0256-439D-9D9A-C72DA670024B}" type="sibTrans" cxnId="{AECDBB9E-A66B-4F65-84F6-3D88FE2D774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8E48835-BF38-477B-92EF-3C91471D48D1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Cyber Defamation</a:t>
          </a:r>
        </a:p>
      </dgm:t>
    </dgm:pt>
    <dgm:pt modelId="{BA9CE3A8-69BB-4F9D-A4B3-F87C3FE6F48D}" type="parTrans" cxnId="{654812FD-F7B2-4B7F-A8FD-C25A73C396D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AF73079B-7660-4482-AC17-0C87BD9077E0}" type="sibTrans" cxnId="{654812FD-F7B2-4B7F-A8FD-C25A73C396D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C2269F2-C1FE-42BA-8141-545C3ACB6025}">
      <dgm:prSet phldrT="[Text]"/>
      <dgm:spPr>
        <a:solidFill>
          <a:srgbClr val="FFFF0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Cyberterrorism</a:t>
          </a:r>
        </a:p>
      </dgm:t>
    </dgm:pt>
    <dgm:pt modelId="{5453BC36-72A6-4012-8F6B-D686AF8AE65B}" type="parTrans" cxnId="{F665B2E4-5B6B-4999-8853-4B4E8C6FF668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ACF969B-C3EE-4F99-9483-E9E6CEF96946}" type="sibTrans" cxnId="{F665B2E4-5B6B-4999-8853-4B4E8C6FF668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04858CD-4257-4E24-AC90-FB911773BBD6}">
      <dgm:prSet phldrT="[Text]"/>
      <dgm:spPr>
        <a:solidFill>
          <a:srgbClr val="0070C0"/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Cyberwarfare</a:t>
          </a:r>
        </a:p>
      </dgm:t>
    </dgm:pt>
    <dgm:pt modelId="{71D58731-BDDA-4DAA-ACD8-E18E7326E20F}" type="parTrans" cxnId="{1F6339F2-E59B-4485-88D1-865D06FAC98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7C3A5CA-2750-4C70-94D7-93F09B49877E}" type="sibTrans" cxnId="{1F6339F2-E59B-4485-88D1-865D06FAC98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7E38F3B-4D35-4578-8CE9-72825C9033B3}" type="pres">
      <dgm:prSet presAssocID="{794FDED8-165C-4696-8639-EA92ED4231D2}" presName="diagram" presStyleCnt="0">
        <dgm:presLayoutVars>
          <dgm:dir/>
          <dgm:resizeHandles val="exact"/>
        </dgm:presLayoutVars>
      </dgm:prSet>
      <dgm:spPr/>
    </dgm:pt>
    <dgm:pt modelId="{E25C02FC-95FF-4927-8405-8559BFF06487}" type="pres">
      <dgm:prSet presAssocID="{C0555DD3-26AE-41C7-8027-9FDEDE7B8AF0}" presName="node" presStyleLbl="node1" presStyleIdx="0" presStyleCnt="12">
        <dgm:presLayoutVars>
          <dgm:bulletEnabled val="1"/>
        </dgm:presLayoutVars>
      </dgm:prSet>
      <dgm:spPr/>
    </dgm:pt>
    <dgm:pt modelId="{A92E7FDE-6777-4644-90C3-7D6228982BEE}" type="pres">
      <dgm:prSet presAssocID="{33C6952D-D64D-4ADF-84D9-DDD672E29062}" presName="sibTrans" presStyleCnt="0"/>
      <dgm:spPr/>
    </dgm:pt>
    <dgm:pt modelId="{A4D06C08-E898-49CB-BAD5-A710ECA5E9CB}" type="pres">
      <dgm:prSet presAssocID="{C79D1813-1DC8-4388-8572-223ACAEFA8FA}" presName="node" presStyleLbl="node1" presStyleIdx="1" presStyleCnt="12">
        <dgm:presLayoutVars>
          <dgm:bulletEnabled val="1"/>
        </dgm:presLayoutVars>
      </dgm:prSet>
      <dgm:spPr/>
    </dgm:pt>
    <dgm:pt modelId="{31443558-71A2-43D5-9079-012D8EE27FAD}" type="pres">
      <dgm:prSet presAssocID="{D58997BD-2FD2-42B5-8B9D-290A59DC3A60}" presName="sibTrans" presStyleCnt="0"/>
      <dgm:spPr/>
    </dgm:pt>
    <dgm:pt modelId="{E6A9B149-0724-454D-9B23-81A128CFD4BC}" type="pres">
      <dgm:prSet presAssocID="{9406FAAE-764C-4FD3-A4CD-088761E37805}" presName="node" presStyleLbl="node1" presStyleIdx="2" presStyleCnt="12">
        <dgm:presLayoutVars>
          <dgm:bulletEnabled val="1"/>
        </dgm:presLayoutVars>
      </dgm:prSet>
      <dgm:spPr/>
    </dgm:pt>
    <dgm:pt modelId="{5DE4A3AC-A97F-4133-A12B-E1CF113893A4}" type="pres">
      <dgm:prSet presAssocID="{D99F1846-6C06-459E-B5AC-1CD0FABD036B}" presName="sibTrans" presStyleCnt="0"/>
      <dgm:spPr/>
    </dgm:pt>
    <dgm:pt modelId="{AFA39636-9622-4605-A02F-F293A6035B24}" type="pres">
      <dgm:prSet presAssocID="{CE7AD042-018B-4163-83D4-EC894CE00A4C}" presName="node" presStyleLbl="node1" presStyleIdx="3" presStyleCnt="12">
        <dgm:presLayoutVars>
          <dgm:bulletEnabled val="1"/>
        </dgm:presLayoutVars>
      </dgm:prSet>
      <dgm:spPr/>
    </dgm:pt>
    <dgm:pt modelId="{82549762-4C20-48BF-BD2A-DF1872BAB064}" type="pres">
      <dgm:prSet presAssocID="{1364EA4B-704D-4054-95F4-D078C6297122}" presName="sibTrans" presStyleCnt="0"/>
      <dgm:spPr/>
    </dgm:pt>
    <dgm:pt modelId="{15DD4959-0070-40D5-8D94-8A26E5883F4F}" type="pres">
      <dgm:prSet presAssocID="{3E49B4D3-2E11-447F-91E2-60B429553F4F}" presName="node" presStyleLbl="node1" presStyleIdx="4" presStyleCnt="12">
        <dgm:presLayoutVars>
          <dgm:bulletEnabled val="1"/>
        </dgm:presLayoutVars>
      </dgm:prSet>
      <dgm:spPr/>
    </dgm:pt>
    <dgm:pt modelId="{02823D70-8AE3-409A-8335-451C6EE349DC}" type="pres">
      <dgm:prSet presAssocID="{F9909DCA-8A18-48E6-AF45-13FAACD36B4B}" presName="sibTrans" presStyleCnt="0"/>
      <dgm:spPr/>
    </dgm:pt>
    <dgm:pt modelId="{73E7A8B7-5A92-4895-BC07-B45C7003F454}" type="pres">
      <dgm:prSet presAssocID="{F889C41A-EBA2-4DEA-9664-8C2F60F173BF}" presName="node" presStyleLbl="node1" presStyleIdx="5" presStyleCnt="12">
        <dgm:presLayoutVars>
          <dgm:bulletEnabled val="1"/>
        </dgm:presLayoutVars>
      </dgm:prSet>
      <dgm:spPr/>
    </dgm:pt>
    <dgm:pt modelId="{FFFE4E41-583A-4126-A4B0-BA0844315FC8}" type="pres">
      <dgm:prSet presAssocID="{A1D8228B-3D26-47F0-92F4-AD78D8355BD5}" presName="sibTrans" presStyleCnt="0"/>
      <dgm:spPr/>
    </dgm:pt>
    <dgm:pt modelId="{0C7291A3-2602-4E30-AC43-4262D0D997C0}" type="pres">
      <dgm:prSet presAssocID="{72961CE9-BDB6-48CA-9735-024723E786EF}" presName="node" presStyleLbl="node1" presStyleIdx="6" presStyleCnt="12">
        <dgm:presLayoutVars>
          <dgm:bulletEnabled val="1"/>
        </dgm:presLayoutVars>
      </dgm:prSet>
      <dgm:spPr/>
    </dgm:pt>
    <dgm:pt modelId="{A98B45EC-8687-4243-B25A-F452DAC80C03}" type="pres">
      <dgm:prSet presAssocID="{616EE7A8-5DA1-4F38-8550-C70F7842DB4E}" presName="sibTrans" presStyleCnt="0"/>
      <dgm:spPr/>
    </dgm:pt>
    <dgm:pt modelId="{C9F4A2C6-DC05-4457-A306-4B7686E0F9BD}" type="pres">
      <dgm:prSet presAssocID="{159D5941-6163-4DA3-9137-DBCC82732CE2}" presName="node" presStyleLbl="node1" presStyleIdx="7" presStyleCnt="12">
        <dgm:presLayoutVars>
          <dgm:bulletEnabled val="1"/>
        </dgm:presLayoutVars>
      </dgm:prSet>
      <dgm:spPr/>
    </dgm:pt>
    <dgm:pt modelId="{38E13E0B-EA06-4BE5-A078-A64CDC811C69}" type="pres">
      <dgm:prSet presAssocID="{394FA87F-0256-439D-9D9A-C72DA670024B}" presName="sibTrans" presStyleCnt="0"/>
      <dgm:spPr/>
    </dgm:pt>
    <dgm:pt modelId="{2F6982D9-A65A-44EF-B9DD-BDC6F03C3EEE}" type="pres">
      <dgm:prSet presAssocID="{2520CED5-A7C2-45C9-BCE7-791E94C13EC6}" presName="node" presStyleLbl="node1" presStyleIdx="8" presStyleCnt="12">
        <dgm:presLayoutVars>
          <dgm:bulletEnabled val="1"/>
        </dgm:presLayoutVars>
      </dgm:prSet>
      <dgm:spPr/>
    </dgm:pt>
    <dgm:pt modelId="{D275F677-561F-4F67-B58C-E5A1D00D7F12}" type="pres">
      <dgm:prSet presAssocID="{1729207A-7FFA-4C7E-B08E-64F3AE8B67EE}" presName="sibTrans" presStyleCnt="0"/>
      <dgm:spPr/>
    </dgm:pt>
    <dgm:pt modelId="{290BCEA2-A232-4A61-958C-E814598669CB}" type="pres">
      <dgm:prSet presAssocID="{18E48835-BF38-477B-92EF-3C91471D48D1}" presName="node" presStyleLbl="node1" presStyleIdx="9" presStyleCnt="12">
        <dgm:presLayoutVars>
          <dgm:bulletEnabled val="1"/>
        </dgm:presLayoutVars>
      </dgm:prSet>
      <dgm:spPr/>
    </dgm:pt>
    <dgm:pt modelId="{B8466C6A-E6C3-4E74-AE4F-A9498023188A}" type="pres">
      <dgm:prSet presAssocID="{AF73079B-7660-4482-AC17-0C87BD9077E0}" presName="sibTrans" presStyleCnt="0"/>
      <dgm:spPr/>
    </dgm:pt>
    <dgm:pt modelId="{B112670F-115C-4DA0-879E-D9AE32708E57}" type="pres">
      <dgm:prSet presAssocID="{EC2269F2-C1FE-42BA-8141-545C3ACB6025}" presName="node" presStyleLbl="node1" presStyleIdx="10" presStyleCnt="12">
        <dgm:presLayoutVars>
          <dgm:bulletEnabled val="1"/>
        </dgm:presLayoutVars>
      </dgm:prSet>
      <dgm:spPr/>
    </dgm:pt>
    <dgm:pt modelId="{677F39D0-5258-4ECB-BBA9-6969517CFB04}" type="pres">
      <dgm:prSet presAssocID="{2ACF969B-C3EE-4F99-9483-E9E6CEF96946}" presName="sibTrans" presStyleCnt="0"/>
      <dgm:spPr/>
    </dgm:pt>
    <dgm:pt modelId="{7826A505-2EE6-4CF8-A919-42111674FFA6}" type="pres">
      <dgm:prSet presAssocID="{004858CD-4257-4E24-AC90-FB911773BBD6}" presName="node" presStyleLbl="node1" presStyleIdx="11" presStyleCnt="12">
        <dgm:presLayoutVars>
          <dgm:bulletEnabled val="1"/>
        </dgm:presLayoutVars>
      </dgm:prSet>
      <dgm:spPr/>
    </dgm:pt>
  </dgm:ptLst>
  <dgm:cxnLst>
    <dgm:cxn modelId="{EA6CBD0D-A61C-419E-9FA4-A2340C97BB8E}" type="presOf" srcId="{2520CED5-A7C2-45C9-BCE7-791E94C13EC6}" destId="{2F6982D9-A65A-44EF-B9DD-BDC6F03C3EEE}" srcOrd="0" destOrd="0" presId="urn:microsoft.com/office/officeart/2005/8/layout/default"/>
    <dgm:cxn modelId="{2FE7BC0E-95FB-4E2C-886E-E515A3ACACAB}" type="presOf" srcId="{C0555DD3-26AE-41C7-8027-9FDEDE7B8AF0}" destId="{E25C02FC-95FF-4927-8405-8559BFF06487}" srcOrd="0" destOrd="0" presId="urn:microsoft.com/office/officeart/2005/8/layout/default"/>
    <dgm:cxn modelId="{8A4F0A12-7AFD-4743-9660-0BCD68D91E87}" type="presOf" srcId="{159D5941-6163-4DA3-9137-DBCC82732CE2}" destId="{C9F4A2C6-DC05-4457-A306-4B7686E0F9BD}" srcOrd="0" destOrd="0" presId="urn:microsoft.com/office/officeart/2005/8/layout/default"/>
    <dgm:cxn modelId="{6180C713-ED07-4B89-9045-78C06D56BB59}" srcId="{794FDED8-165C-4696-8639-EA92ED4231D2}" destId="{72961CE9-BDB6-48CA-9735-024723E786EF}" srcOrd="6" destOrd="0" parTransId="{EE8DF3CB-96C1-44BA-8011-77E95F396F13}" sibTransId="{616EE7A8-5DA1-4F38-8550-C70F7842DB4E}"/>
    <dgm:cxn modelId="{0A31BB15-49E5-4135-91DF-1F43263DADB3}" srcId="{794FDED8-165C-4696-8639-EA92ED4231D2}" destId="{C79D1813-1DC8-4388-8572-223ACAEFA8FA}" srcOrd="1" destOrd="0" parTransId="{90D57747-B7D8-444C-B1F7-104809B82001}" sibTransId="{D58997BD-2FD2-42B5-8B9D-290A59DC3A60}"/>
    <dgm:cxn modelId="{7CF37929-24BE-4B97-BD41-2411946DC287}" type="presOf" srcId="{004858CD-4257-4E24-AC90-FB911773BBD6}" destId="{7826A505-2EE6-4CF8-A919-42111674FFA6}" srcOrd="0" destOrd="0" presId="urn:microsoft.com/office/officeart/2005/8/layout/default"/>
    <dgm:cxn modelId="{DB12795B-A09D-4C78-9152-4A4CA660ECEC}" type="presOf" srcId="{18E48835-BF38-477B-92EF-3C91471D48D1}" destId="{290BCEA2-A232-4A61-958C-E814598669CB}" srcOrd="0" destOrd="0" presId="urn:microsoft.com/office/officeart/2005/8/layout/default"/>
    <dgm:cxn modelId="{C8C81762-758A-4A70-A0AF-4B30CC0AADA9}" type="presOf" srcId="{C79D1813-1DC8-4388-8572-223ACAEFA8FA}" destId="{A4D06C08-E898-49CB-BAD5-A710ECA5E9CB}" srcOrd="0" destOrd="0" presId="urn:microsoft.com/office/officeart/2005/8/layout/default"/>
    <dgm:cxn modelId="{3056C06C-1D52-4BE3-A1C7-8D3D8B7D156C}" type="presOf" srcId="{3E49B4D3-2E11-447F-91E2-60B429553F4F}" destId="{15DD4959-0070-40D5-8D94-8A26E5883F4F}" srcOrd="0" destOrd="0" presId="urn:microsoft.com/office/officeart/2005/8/layout/default"/>
    <dgm:cxn modelId="{6A461877-F924-4BE0-A2C0-9A3EADF2D080}" srcId="{794FDED8-165C-4696-8639-EA92ED4231D2}" destId="{3E49B4D3-2E11-447F-91E2-60B429553F4F}" srcOrd="4" destOrd="0" parTransId="{27F367DB-B38B-49E2-9EEE-D5B3A4AE3AA0}" sibTransId="{F9909DCA-8A18-48E6-AF45-13FAACD36B4B}"/>
    <dgm:cxn modelId="{ABB9657A-F5D1-413F-B0DC-ADB3D2A16228}" type="presOf" srcId="{72961CE9-BDB6-48CA-9735-024723E786EF}" destId="{0C7291A3-2602-4E30-AC43-4262D0D997C0}" srcOrd="0" destOrd="0" presId="urn:microsoft.com/office/officeart/2005/8/layout/default"/>
    <dgm:cxn modelId="{948A485A-BE3E-4367-9401-1FA24A424841}" type="presOf" srcId="{CE7AD042-018B-4163-83D4-EC894CE00A4C}" destId="{AFA39636-9622-4605-A02F-F293A6035B24}" srcOrd="0" destOrd="0" presId="urn:microsoft.com/office/officeart/2005/8/layout/default"/>
    <dgm:cxn modelId="{BF722187-A1B7-4EDC-8959-6B28CA78898C}" type="presOf" srcId="{F889C41A-EBA2-4DEA-9664-8C2F60F173BF}" destId="{73E7A8B7-5A92-4895-BC07-B45C7003F454}" srcOrd="0" destOrd="0" presId="urn:microsoft.com/office/officeart/2005/8/layout/default"/>
    <dgm:cxn modelId="{5257EA96-52F4-4F47-8758-5769109DC91A}" srcId="{794FDED8-165C-4696-8639-EA92ED4231D2}" destId="{CE7AD042-018B-4163-83D4-EC894CE00A4C}" srcOrd="3" destOrd="0" parTransId="{14DB382D-74AD-432F-A45B-5280753FBD65}" sibTransId="{1364EA4B-704D-4054-95F4-D078C6297122}"/>
    <dgm:cxn modelId="{D12FF99D-5184-45D1-B8C3-7689C1A4D6DD}" srcId="{794FDED8-165C-4696-8639-EA92ED4231D2}" destId="{C0555DD3-26AE-41C7-8027-9FDEDE7B8AF0}" srcOrd="0" destOrd="0" parTransId="{5672733E-F758-4430-89C7-8DB756E06A9A}" sibTransId="{33C6952D-D64D-4ADF-84D9-DDD672E29062}"/>
    <dgm:cxn modelId="{AECDBB9E-A66B-4F65-84F6-3D88FE2D774C}" srcId="{794FDED8-165C-4696-8639-EA92ED4231D2}" destId="{159D5941-6163-4DA3-9137-DBCC82732CE2}" srcOrd="7" destOrd="0" parTransId="{62EDE3E3-96F4-4107-8CF7-C74C582AC2FB}" sibTransId="{394FA87F-0256-439D-9D9A-C72DA670024B}"/>
    <dgm:cxn modelId="{628DA0BB-AE76-4F83-BDC0-DADC4584DA14}" type="presOf" srcId="{794FDED8-165C-4696-8639-EA92ED4231D2}" destId="{D7E38F3B-4D35-4578-8CE9-72825C9033B3}" srcOrd="0" destOrd="0" presId="urn:microsoft.com/office/officeart/2005/8/layout/default"/>
    <dgm:cxn modelId="{6799D4BB-8B75-4365-8F8E-5E5FE9E21987}" type="presOf" srcId="{EC2269F2-C1FE-42BA-8141-545C3ACB6025}" destId="{B112670F-115C-4DA0-879E-D9AE32708E57}" srcOrd="0" destOrd="0" presId="urn:microsoft.com/office/officeart/2005/8/layout/default"/>
    <dgm:cxn modelId="{730CDEC9-63C2-4006-ABFB-288369C9F1D1}" type="presOf" srcId="{9406FAAE-764C-4FD3-A4CD-088761E37805}" destId="{E6A9B149-0724-454D-9B23-81A128CFD4BC}" srcOrd="0" destOrd="0" presId="urn:microsoft.com/office/officeart/2005/8/layout/default"/>
    <dgm:cxn modelId="{7EBD54D1-B6FE-4163-8E9F-EA8E37C04435}" srcId="{794FDED8-165C-4696-8639-EA92ED4231D2}" destId="{9406FAAE-764C-4FD3-A4CD-088761E37805}" srcOrd="2" destOrd="0" parTransId="{40D75CD4-F2B7-44A4-8C4B-7054856B7B73}" sibTransId="{D99F1846-6C06-459E-B5AC-1CD0FABD036B}"/>
    <dgm:cxn modelId="{C30278D1-48AE-412F-B86F-1AED0026C2F6}" srcId="{794FDED8-165C-4696-8639-EA92ED4231D2}" destId="{2520CED5-A7C2-45C9-BCE7-791E94C13EC6}" srcOrd="8" destOrd="0" parTransId="{83E11DF6-2F1E-4F09-B2CB-B86E324820C0}" sibTransId="{1729207A-7FFA-4C7E-B08E-64F3AE8B67EE}"/>
    <dgm:cxn modelId="{534BA4DD-B74B-4FCE-BAE4-81CF70ED75D1}" srcId="{794FDED8-165C-4696-8639-EA92ED4231D2}" destId="{F889C41A-EBA2-4DEA-9664-8C2F60F173BF}" srcOrd="5" destOrd="0" parTransId="{6DF35793-C87A-42C1-88EF-FEC45DA1C6A6}" sibTransId="{A1D8228B-3D26-47F0-92F4-AD78D8355BD5}"/>
    <dgm:cxn modelId="{F665B2E4-5B6B-4999-8853-4B4E8C6FF668}" srcId="{794FDED8-165C-4696-8639-EA92ED4231D2}" destId="{EC2269F2-C1FE-42BA-8141-545C3ACB6025}" srcOrd="10" destOrd="0" parTransId="{5453BC36-72A6-4012-8F6B-D686AF8AE65B}" sibTransId="{2ACF969B-C3EE-4F99-9483-E9E6CEF96946}"/>
    <dgm:cxn modelId="{1F6339F2-E59B-4485-88D1-865D06FAC987}" srcId="{794FDED8-165C-4696-8639-EA92ED4231D2}" destId="{004858CD-4257-4E24-AC90-FB911773BBD6}" srcOrd="11" destOrd="0" parTransId="{71D58731-BDDA-4DAA-ACD8-E18E7326E20F}" sibTransId="{57C3A5CA-2750-4C70-94D7-93F09B49877E}"/>
    <dgm:cxn modelId="{654812FD-F7B2-4B7F-A8FD-C25A73C396DE}" srcId="{794FDED8-165C-4696-8639-EA92ED4231D2}" destId="{18E48835-BF38-477B-92EF-3C91471D48D1}" srcOrd="9" destOrd="0" parTransId="{BA9CE3A8-69BB-4F9D-A4B3-F87C3FE6F48D}" sibTransId="{AF73079B-7660-4482-AC17-0C87BD9077E0}"/>
    <dgm:cxn modelId="{7644279E-0D54-428A-9B70-31D90297E81A}" type="presParOf" srcId="{D7E38F3B-4D35-4578-8CE9-72825C9033B3}" destId="{E25C02FC-95FF-4927-8405-8559BFF06487}" srcOrd="0" destOrd="0" presId="urn:microsoft.com/office/officeart/2005/8/layout/default"/>
    <dgm:cxn modelId="{48D69409-ED34-41FA-9644-260525F28016}" type="presParOf" srcId="{D7E38F3B-4D35-4578-8CE9-72825C9033B3}" destId="{A92E7FDE-6777-4644-90C3-7D6228982BEE}" srcOrd="1" destOrd="0" presId="urn:microsoft.com/office/officeart/2005/8/layout/default"/>
    <dgm:cxn modelId="{423C9214-0897-4AF5-8EE9-6C3653385A7A}" type="presParOf" srcId="{D7E38F3B-4D35-4578-8CE9-72825C9033B3}" destId="{A4D06C08-E898-49CB-BAD5-A710ECA5E9CB}" srcOrd="2" destOrd="0" presId="urn:microsoft.com/office/officeart/2005/8/layout/default"/>
    <dgm:cxn modelId="{29BD0020-8A1B-43BB-9E75-823FB25DE60B}" type="presParOf" srcId="{D7E38F3B-4D35-4578-8CE9-72825C9033B3}" destId="{31443558-71A2-43D5-9079-012D8EE27FAD}" srcOrd="3" destOrd="0" presId="urn:microsoft.com/office/officeart/2005/8/layout/default"/>
    <dgm:cxn modelId="{EDEFAD6C-49C0-43D5-ADB9-10396527F18B}" type="presParOf" srcId="{D7E38F3B-4D35-4578-8CE9-72825C9033B3}" destId="{E6A9B149-0724-454D-9B23-81A128CFD4BC}" srcOrd="4" destOrd="0" presId="urn:microsoft.com/office/officeart/2005/8/layout/default"/>
    <dgm:cxn modelId="{D0A71A4B-99A0-4A3A-8C80-484CC3C40385}" type="presParOf" srcId="{D7E38F3B-4D35-4578-8CE9-72825C9033B3}" destId="{5DE4A3AC-A97F-4133-A12B-E1CF113893A4}" srcOrd="5" destOrd="0" presId="urn:microsoft.com/office/officeart/2005/8/layout/default"/>
    <dgm:cxn modelId="{23724C3D-81D8-4827-907B-6FDEE2CFE611}" type="presParOf" srcId="{D7E38F3B-4D35-4578-8CE9-72825C9033B3}" destId="{AFA39636-9622-4605-A02F-F293A6035B24}" srcOrd="6" destOrd="0" presId="urn:microsoft.com/office/officeart/2005/8/layout/default"/>
    <dgm:cxn modelId="{2E07908E-B440-472C-8F0A-846472D76C8B}" type="presParOf" srcId="{D7E38F3B-4D35-4578-8CE9-72825C9033B3}" destId="{82549762-4C20-48BF-BD2A-DF1872BAB064}" srcOrd="7" destOrd="0" presId="urn:microsoft.com/office/officeart/2005/8/layout/default"/>
    <dgm:cxn modelId="{9B0B5CC2-2F9A-4897-B1F5-B99F0CD69343}" type="presParOf" srcId="{D7E38F3B-4D35-4578-8CE9-72825C9033B3}" destId="{15DD4959-0070-40D5-8D94-8A26E5883F4F}" srcOrd="8" destOrd="0" presId="urn:microsoft.com/office/officeart/2005/8/layout/default"/>
    <dgm:cxn modelId="{54B8C87E-EC67-463D-98C4-663DE9B698EF}" type="presParOf" srcId="{D7E38F3B-4D35-4578-8CE9-72825C9033B3}" destId="{02823D70-8AE3-409A-8335-451C6EE349DC}" srcOrd="9" destOrd="0" presId="urn:microsoft.com/office/officeart/2005/8/layout/default"/>
    <dgm:cxn modelId="{4BF239C3-1EC7-4658-AE9A-1AE36E18C91D}" type="presParOf" srcId="{D7E38F3B-4D35-4578-8CE9-72825C9033B3}" destId="{73E7A8B7-5A92-4895-BC07-B45C7003F454}" srcOrd="10" destOrd="0" presId="urn:microsoft.com/office/officeart/2005/8/layout/default"/>
    <dgm:cxn modelId="{95302F59-C0D7-43A4-8582-76D34AA37D74}" type="presParOf" srcId="{D7E38F3B-4D35-4578-8CE9-72825C9033B3}" destId="{FFFE4E41-583A-4126-A4B0-BA0844315FC8}" srcOrd="11" destOrd="0" presId="urn:microsoft.com/office/officeart/2005/8/layout/default"/>
    <dgm:cxn modelId="{89AA5D56-F4F6-4A7F-820E-2ED83105969B}" type="presParOf" srcId="{D7E38F3B-4D35-4578-8CE9-72825C9033B3}" destId="{0C7291A3-2602-4E30-AC43-4262D0D997C0}" srcOrd="12" destOrd="0" presId="urn:microsoft.com/office/officeart/2005/8/layout/default"/>
    <dgm:cxn modelId="{E227B7B1-486E-4380-BDEF-BC4D7D8F8EAC}" type="presParOf" srcId="{D7E38F3B-4D35-4578-8CE9-72825C9033B3}" destId="{A98B45EC-8687-4243-B25A-F452DAC80C03}" srcOrd="13" destOrd="0" presId="urn:microsoft.com/office/officeart/2005/8/layout/default"/>
    <dgm:cxn modelId="{6E4A009F-F8B2-4DD3-AA8B-34313B2A9E81}" type="presParOf" srcId="{D7E38F3B-4D35-4578-8CE9-72825C9033B3}" destId="{C9F4A2C6-DC05-4457-A306-4B7686E0F9BD}" srcOrd="14" destOrd="0" presId="urn:microsoft.com/office/officeart/2005/8/layout/default"/>
    <dgm:cxn modelId="{4A8FF206-FED2-43EF-91C3-1A1B49AD2280}" type="presParOf" srcId="{D7E38F3B-4D35-4578-8CE9-72825C9033B3}" destId="{38E13E0B-EA06-4BE5-A078-A64CDC811C69}" srcOrd="15" destOrd="0" presId="urn:microsoft.com/office/officeart/2005/8/layout/default"/>
    <dgm:cxn modelId="{CC973290-AB90-4BD8-B034-139400EDF68B}" type="presParOf" srcId="{D7E38F3B-4D35-4578-8CE9-72825C9033B3}" destId="{2F6982D9-A65A-44EF-B9DD-BDC6F03C3EEE}" srcOrd="16" destOrd="0" presId="urn:microsoft.com/office/officeart/2005/8/layout/default"/>
    <dgm:cxn modelId="{44599E8B-0CAE-4A68-A942-9E661CA55D61}" type="presParOf" srcId="{D7E38F3B-4D35-4578-8CE9-72825C9033B3}" destId="{D275F677-561F-4F67-B58C-E5A1D00D7F12}" srcOrd="17" destOrd="0" presId="urn:microsoft.com/office/officeart/2005/8/layout/default"/>
    <dgm:cxn modelId="{E19D7B11-D9E4-4972-855C-F42A93D2B948}" type="presParOf" srcId="{D7E38F3B-4D35-4578-8CE9-72825C9033B3}" destId="{290BCEA2-A232-4A61-958C-E814598669CB}" srcOrd="18" destOrd="0" presId="urn:microsoft.com/office/officeart/2005/8/layout/default"/>
    <dgm:cxn modelId="{A911CA7C-E1FB-4988-BE69-1F92A404D3BD}" type="presParOf" srcId="{D7E38F3B-4D35-4578-8CE9-72825C9033B3}" destId="{B8466C6A-E6C3-4E74-AE4F-A9498023188A}" srcOrd="19" destOrd="0" presId="urn:microsoft.com/office/officeart/2005/8/layout/default"/>
    <dgm:cxn modelId="{F50D0FD7-54F8-4E1D-9916-B51E2C54F150}" type="presParOf" srcId="{D7E38F3B-4D35-4578-8CE9-72825C9033B3}" destId="{B112670F-115C-4DA0-879E-D9AE32708E57}" srcOrd="20" destOrd="0" presId="urn:microsoft.com/office/officeart/2005/8/layout/default"/>
    <dgm:cxn modelId="{71F7C129-80E8-4769-A308-2C6FC38CD689}" type="presParOf" srcId="{D7E38F3B-4D35-4578-8CE9-72825C9033B3}" destId="{677F39D0-5258-4ECB-BBA9-6969517CFB04}" srcOrd="21" destOrd="0" presId="urn:microsoft.com/office/officeart/2005/8/layout/default"/>
    <dgm:cxn modelId="{7E670E9C-C002-4509-943B-BC94158CBC20}" type="presParOf" srcId="{D7E38F3B-4D35-4578-8CE9-72825C9033B3}" destId="{7826A505-2EE6-4CF8-A919-42111674FFA6}" srcOrd="2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E5EF866-CE8C-42CA-9989-26D6BA8EC803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7762EEC-C2CD-4F62-BB31-55D0DA6EE3CA}">
      <dgm:prSet phldrT="[Text]"/>
      <dgm:spPr/>
      <dgm:t>
        <a:bodyPr/>
        <a:lstStyle/>
        <a:p>
          <a:r>
            <a:rPr lang="en-US" b="1">
              <a:solidFill>
                <a:schemeClr val="bg1"/>
              </a:solidFill>
            </a:rPr>
            <a:t>Understandable</a:t>
          </a:r>
          <a:endParaRPr lang="en-US" b="1" dirty="0">
            <a:solidFill>
              <a:schemeClr val="bg1"/>
            </a:solidFill>
          </a:endParaRPr>
        </a:p>
      </dgm:t>
    </dgm:pt>
    <dgm:pt modelId="{7AFF32DF-A8AE-4376-A6D1-33612E68538F}" type="sibTrans" cxnId="{65AAC943-8373-4EA0-9ACF-94D41DB8C1D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DA3E3AB-AFBA-42F4-91FA-5C261FA0649C}" type="parTrans" cxnId="{65AAC943-8373-4EA0-9ACF-94D41DB8C1D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BA79DC9-8DF5-463C-A974-FB1C6491C736}">
      <dgm:prSet phldrT="[Text]"/>
      <dgm:spPr/>
      <dgm:t>
        <a:bodyPr/>
        <a:lstStyle/>
        <a:p>
          <a:r>
            <a:rPr lang="en-US" b="1">
              <a:solidFill>
                <a:schemeClr val="bg1"/>
              </a:solidFill>
            </a:rPr>
            <a:t>Admissible</a:t>
          </a:r>
          <a:endParaRPr lang="en-US" b="1" dirty="0">
            <a:solidFill>
              <a:schemeClr val="bg1"/>
            </a:solidFill>
          </a:endParaRPr>
        </a:p>
      </dgm:t>
    </dgm:pt>
    <dgm:pt modelId="{37A4ECCF-C5C4-4B07-8AD9-8C8492951A7F}" type="parTrans" cxnId="{B283B1E7-EEF5-4AAE-9E2C-F266F4D70E1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CF01B1B-74C1-4109-9748-2D49B21EF1D8}" type="sibTrans" cxnId="{B283B1E7-EEF5-4AAE-9E2C-F266F4D70E1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BA227312-F862-40ED-A333-CDDB863CCC30}">
      <dgm:prSet phldrT="[Text]"/>
      <dgm:spPr/>
      <dgm:t>
        <a:bodyPr/>
        <a:lstStyle/>
        <a:p>
          <a:r>
            <a:rPr lang="en-US" b="1">
              <a:solidFill>
                <a:schemeClr val="bg1"/>
              </a:solidFill>
            </a:rPr>
            <a:t>Authentic</a:t>
          </a:r>
          <a:endParaRPr lang="en-US" b="1" dirty="0">
            <a:solidFill>
              <a:schemeClr val="bg1"/>
            </a:solidFill>
          </a:endParaRPr>
        </a:p>
      </dgm:t>
    </dgm:pt>
    <dgm:pt modelId="{DC49D300-B4A1-44CE-A8F9-1D0FE1E761CB}" type="parTrans" cxnId="{FDC81EE4-9D7B-49EF-867E-343B7B002404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60DC55C-B1EE-45A8-BD4A-099BF26B3693}" type="sibTrans" cxnId="{FDC81EE4-9D7B-49EF-867E-343B7B002404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9D68163-2CC9-4781-9BF6-F8C09003DCB5}">
      <dgm:prSet phldrT="[Text]"/>
      <dgm:spPr/>
      <dgm:t>
        <a:bodyPr/>
        <a:lstStyle/>
        <a:p>
          <a:r>
            <a:rPr lang="en-US" b="1">
              <a:solidFill>
                <a:schemeClr val="bg1"/>
              </a:solidFill>
            </a:rPr>
            <a:t>Reliable</a:t>
          </a:r>
          <a:endParaRPr lang="en-US" b="1" dirty="0">
            <a:solidFill>
              <a:schemeClr val="bg1"/>
            </a:solidFill>
          </a:endParaRPr>
        </a:p>
      </dgm:t>
    </dgm:pt>
    <dgm:pt modelId="{2B5ED7EE-DEE0-49B2-BA96-59F32B3DD5C9}" type="parTrans" cxnId="{7905FA3C-1047-452F-8FCC-D0FD70C0ABD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AB819F3-C2A8-4CC0-99A1-FF86B73D2007}" type="sibTrans" cxnId="{7905FA3C-1047-452F-8FCC-D0FD70C0ABD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DBF4351-7F9D-473B-9A0F-A18069BDB910}">
      <dgm:prSet phldrT="[Text]"/>
      <dgm:spPr/>
      <dgm:t>
        <a:bodyPr/>
        <a:lstStyle/>
        <a:p>
          <a:r>
            <a:rPr lang="en-US" b="1">
              <a:solidFill>
                <a:schemeClr val="bg1"/>
              </a:solidFill>
            </a:rPr>
            <a:t>Complete</a:t>
          </a:r>
          <a:endParaRPr lang="en-US" b="1" dirty="0">
            <a:solidFill>
              <a:schemeClr val="bg1"/>
            </a:solidFill>
          </a:endParaRPr>
        </a:p>
      </dgm:t>
    </dgm:pt>
    <dgm:pt modelId="{3E8D4CDA-977A-4334-9B16-0A41F227772B}" type="parTrans" cxnId="{D36090E8-8C90-4DC8-9057-097E5121A7C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95C12AD-3BAA-4549-AE09-26D15280EAFB}" type="sibTrans" cxnId="{D36090E8-8C90-4DC8-9057-097E5121A7C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24EEF5E-A168-44F8-8664-C591720B32AA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Materiality</a:t>
          </a:r>
        </a:p>
      </dgm:t>
    </dgm:pt>
    <dgm:pt modelId="{077CFD4F-6F33-4E4E-8AD8-E7426EB068D8}" type="parTrans" cxnId="{0270330F-CE84-4DA1-850F-C0121C67128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7558A0C-944B-4032-AED4-BDF004C7186F}" type="sibTrans" cxnId="{0270330F-CE84-4DA1-850F-C0121C67128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FD5015F-DAFF-46B3-A30F-DB92CA1623F5}" type="pres">
      <dgm:prSet presAssocID="{0E5EF866-CE8C-42CA-9989-26D6BA8EC803}" presName="diagram" presStyleCnt="0">
        <dgm:presLayoutVars>
          <dgm:dir/>
          <dgm:resizeHandles val="exact"/>
        </dgm:presLayoutVars>
      </dgm:prSet>
      <dgm:spPr/>
    </dgm:pt>
    <dgm:pt modelId="{B25DEEDC-C00B-47BA-81F5-3BA63709AF42}" type="pres">
      <dgm:prSet presAssocID="{B7762EEC-C2CD-4F62-BB31-55D0DA6EE3CA}" presName="node" presStyleLbl="node1" presStyleIdx="0" presStyleCnt="6">
        <dgm:presLayoutVars>
          <dgm:bulletEnabled val="1"/>
        </dgm:presLayoutVars>
      </dgm:prSet>
      <dgm:spPr/>
    </dgm:pt>
    <dgm:pt modelId="{D9BFF291-64ED-4D9B-824E-0DF9D2C2ED50}" type="pres">
      <dgm:prSet presAssocID="{7AFF32DF-A8AE-4376-A6D1-33612E68538F}" presName="sibTrans" presStyleCnt="0"/>
      <dgm:spPr/>
    </dgm:pt>
    <dgm:pt modelId="{72249359-4684-42AA-950A-5481C6B7967B}" type="pres">
      <dgm:prSet presAssocID="{EBA79DC9-8DF5-463C-A974-FB1C6491C736}" presName="node" presStyleLbl="node1" presStyleIdx="1" presStyleCnt="6">
        <dgm:presLayoutVars>
          <dgm:bulletEnabled val="1"/>
        </dgm:presLayoutVars>
      </dgm:prSet>
      <dgm:spPr/>
    </dgm:pt>
    <dgm:pt modelId="{9304005B-3A91-4C1D-BC11-29F4070868B2}" type="pres">
      <dgm:prSet presAssocID="{1CF01B1B-74C1-4109-9748-2D49B21EF1D8}" presName="sibTrans" presStyleCnt="0"/>
      <dgm:spPr/>
    </dgm:pt>
    <dgm:pt modelId="{895213CA-4A66-4FF2-8F04-898138AFE13A}" type="pres">
      <dgm:prSet presAssocID="{BA227312-F862-40ED-A333-CDDB863CCC30}" presName="node" presStyleLbl="node1" presStyleIdx="2" presStyleCnt="6">
        <dgm:presLayoutVars>
          <dgm:bulletEnabled val="1"/>
        </dgm:presLayoutVars>
      </dgm:prSet>
      <dgm:spPr/>
    </dgm:pt>
    <dgm:pt modelId="{8F5212F7-458B-40D5-AF80-83024F615AC0}" type="pres">
      <dgm:prSet presAssocID="{660DC55C-B1EE-45A8-BD4A-099BF26B3693}" presName="sibTrans" presStyleCnt="0"/>
      <dgm:spPr/>
    </dgm:pt>
    <dgm:pt modelId="{6B9E336F-3E70-431A-8BA5-FF3417BDB172}" type="pres">
      <dgm:prSet presAssocID="{C9D68163-2CC9-4781-9BF6-F8C09003DCB5}" presName="node" presStyleLbl="node1" presStyleIdx="3" presStyleCnt="6">
        <dgm:presLayoutVars>
          <dgm:bulletEnabled val="1"/>
        </dgm:presLayoutVars>
      </dgm:prSet>
      <dgm:spPr/>
    </dgm:pt>
    <dgm:pt modelId="{98E2E59F-BEE7-4EC6-856A-620A5B59753B}" type="pres">
      <dgm:prSet presAssocID="{CAB819F3-C2A8-4CC0-99A1-FF86B73D2007}" presName="sibTrans" presStyleCnt="0"/>
      <dgm:spPr/>
    </dgm:pt>
    <dgm:pt modelId="{3CC8B27E-1E5B-4A4D-8BDA-5E298236035B}" type="pres">
      <dgm:prSet presAssocID="{3DBF4351-7F9D-473B-9A0F-A18069BDB910}" presName="node" presStyleLbl="node1" presStyleIdx="4" presStyleCnt="6">
        <dgm:presLayoutVars>
          <dgm:bulletEnabled val="1"/>
        </dgm:presLayoutVars>
      </dgm:prSet>
      <dgm:spPr/>
    </dgm:pt>
    <dgm:pt modelId="{26A6E837-B332-46A7-80BE-89306573F2F4}" type="pres">
      <dgm:prSet presAssocID="{E95C12AD-3BAA-4549-AE09-26D15280EAFB}" presName="sibTrans" presStyleCnt="0"/>
      <dgm:spPr/>
    </dgm:pt>
    <dgm:pt modelId="{031AC79E-7F11-41AA-BB38-90A41D2F314A}" type="pres">
      <dgm:prSet presAssocID="{824EEF5E-A168-44F8-8664-C591720B32AA}" presName="node" presStyleLbl="node1" presStyleIdx="5" presStyleCnt="6">
        <dgm:presLayoutVars>
          <dgm:bulletEnabled val="1"/>
        </dgm:presLayoutVars>
      </dgm:prSet>
      <dgm:spPr/>
    </dgm:pt>
  </dgm:ptLst>
  <dgm:cxnLst>
    <dgm:cxn modelId="{0270330F-CE84-4DA1-850F-C0121C671286}" srcId="{0E5EF866-CE8C-42CA-9989-26D6BA8EC803}" destId="{824EEF5E-A168-44F8-8664-C591720B32AA}" srcOrd="5" destOrd="0" parTransId="{077CFD4F-6F33-4E4E-8AD8-E7426EB068D8}" sibTransId="{17558A0C-944B-4032-AED4-BDF004C7186F}"/>
    <dgm:cxn modelId="{54929714-905D-45EB-A41F-2577EF0B93C6}" type="presOf" srcId="{824EEF5E-A168-44F8-8664-C591720B32AA}" destId="{031AC79E-7F11-41AA-BB38-90A41D2F314A}" srcOrd="0" destOrd="0" presId="urn:microsoft.com/office/officeart/2005/8/layout/default"/>
    <dgm:cxn modelId="{7905FA3C-1047-452F-8FCC-D0FD70C0ABD3}" srcId="{0E5EF866-CE8C-42CA-9989-26D6BA8EC803}" destId="{C9D68163-2CC9-4781-9BF6-F8C09003DCB5}" srcOrd="3" destOrd="0" parTransId="{2B5ED7EE-DEE0-49B2-BA96-59F32B3DD5C9}" sibTransId="{CAB819F3-C2A8-4CC0-99A1-FF86B73D2007}"/>
    <dgm:cxn modelId="{6F809662-AB63-45B7-A7D8-1D0784E8F634}" type="presOf" srcId="{0E5EF866-CE8C-42CA-9989-26D6BA8EC803}" destId="{6FD5015F-DAFF-46B3-A30F-DB92CA1623F5}" srcOrd="0" destOrd="0" presId="urn:microsoft.com/office/officeart/2005/8/layout/default"/>
    <dgm:cxn modelId="{65AAC943-8373-4EA0-9ACF-94D41DB8C1DC}" srcId="{0E5EF866-CE8C-42CA-9989-26D6BA8EC803}" destId="{B7762EEC-C2CD-4F62-BB31-55D0DA6EE3CA}" srcOrd="0" destOrd="0" parTransId="{EDA3E3AB-AFBA-42F4-91FA-5C261FA0649C}" sibTransId="{7AFF32DF-A8AE-4376-A6D1-33612E68538F}"/>
    <dgm:cxn modelId="{0C850E4A-B343-4FEC-8483-20653AB35365}" type="presOf" srcId="{B7762EEC-C2CD-4F62-BB31-55D0DA6EE3CA}" destId="{B25DEEDC-C00B-47BA-81F5-3BA63709AF42}" srcOrd="0" destOrd="0" presId="urn:microsoft.com/office/officeart/2005/8/layout/default"/>
    <dgm:cxn modelId="{EE488254-D097-4DC8-B16D-17A8BF2F3460}" type="presOf" srcId="{EBA79DC9-8DF5-463C-A974-FB1C6491C736}" destId="{72249359-4684-42AA-950A-5481C6B7967B}" srcOrd="0" destOrd="0" presId="urn:microsoft.com/office/officeart/2005/8/layout/default"/>
    <dgm:cxn modelId="{2675D096-725D-493E-AA8B-8D315FB1C065}" type="presOf" srcId="{BA227312-F862-40ED-A333-CDDB863CCC30}" destId="{895213CA-4A66-4FF2-8F04-898138AFE13A}" srcOrd="0" destOrd="0" presId="urn:microsoft.com/office/officeart/2005/8/layout/default"/>
    <dgm:cxn modelId="{F468BCC8-61FC-409E-BB6D-72DD35F69931}" type="presOf" srcId="{3DBF4351-7F9D-473B-9A0F-A18069BDB910}" destId="{3CC8B27E-1E5B-4A4D-8BDA-5E298236035B}" srcOrd="0" destOrd="0" presId="urn:microsoft.com/office/officeart/2005/8/layout/default"/>
    <dgm:cxn modelId="{E8493ACF-6B9F-49B0-8702-AA33CED28422}" type="presOf" srcId="{C9D68163-2CC9-4781-9BF6-F8C09003DCB5}" destId="{6B9E336F-3E70-431A-8BA5-FF3417BDB172}" srcOrd="0" destOrd="0" presId="urn:microsoft.com/office/officeart/2005/8/layout/default"/>
    <dgm:cxn modelId="{FDC81EE4-9D7B-49EF-867E-343B7B002404}" srcId="{0E5EF866-CE8C-42CA-9989-26D6BA8EC803}" destId="{BA227312-F862-40ED-A333-CDDB863CCC30}" srcOrd="2" destOrd="0" parTransId="{DC49D300-B4A1-44CE-A8F9-1D0FE1E761CB}" sibTransId="{660DC55C-B1EE-45A8-BD4A-099BF26B3693}"/>
    <dgm:cxn modelId="{B283B1E7-EEF5-4AAE-9E2C-F266F4D70E17}" srcId="{0E5EF866-CE8C-42CA-9989-26D6BA8EC803}" destId="{EBA79DC9-8DF5-463C-A974-FB1C6491C736}" srcOrd="1" destOrd="0" parTransId="{37A4ECCF-C5C4-4B07-8AD9-8C8492951A7F}" sibTransId="{1CF01B1B-74C1-4109-9748-2D49B21EF1D8}"/>
    <dgm:cxn modelId="{D36090E8-8C90-4DC8-9057-097E5121A7C5}" srcId="{0E5EF866-CE8C-42CA-9989-26D6BA8EC803}" destId="{3DBF4351-7F9D-473B-9A0F-A18069BDB910}" srcOrd="4" destOrd="0" parTransId="{3E8D4CDA-977A-4334-9B16-0A41F227772B}" sibTransId="{E95C12AD-3BAA-4549-AE09-26D15280EAFB}"/>
    <dgm:cxn modelId="{D59F27A1-A303-4CA3-9D4F-4955E91AF264}" type="presParOf" srcId="{6FD5015F-DAFF-46B3-A30F-DB92CA1623F5}" destId="{B25DEEDC-C00B-47BA-81F5-3BA63709AF42}" srcOrd="0" destOrd="0" presId="urn:microsoft.com/office/officeart/2005/8/layout/default"/>
    <dgm:cxn modelId="{26448B18-7C66-4DF8-972E-4D912DDE0DDF}" type="presParOf" srcId="{6FD5015F-DAFF-46B3-A30F-DB92CA1623F5}" destId="{D9BFF291-64ED-4D9B-824E-0DF9D2C2ED50}" srcOrd="1" destOrd="0" presId="urn:microsoft.com/office/officeart/2005/8/layout/default"/>
    <dgm:cxn modelId="{1EDAA97B-707B-4B48-BA6B-B7B0113F5963}" type="presParOf" srcId="{6FD5015F-DAFF-46B3-A30F-DB92CA1623F5}" destId="{72249359-4684-42AA-950A-5481C6B7967B}" srcOrd="2" destOrd="0" presId="urn:microsoft.com/office/officeart/2005/8/layout/default"/>
    <dgm:cxn modelId="{F5B1B911-7130-4D26-A488-A6B8D11B3F69}" type="presParOf" srcId="{6FD5015F-DAFF-46B3-A30F-DB92CA1623F5}" destId="{9304005B-3A91-4C1D-BC11-29F4070868B2}" srcOrd="3" destOrd="0" presId="urn:microsoft.com/office/officeart/2005/8/layout/default"/>
    <dgm:cxn modelId="{4027CE41-C744-4921-80EF-F5C62E3CFBB2}" type="presParOf" srcId="{6FD5015F-DAFF-46B3-A30F-DB92CA1623F5}" destId="{895213CA-4A66-4FF2-8F04-898138AFE13A}" srcOrd="4" destOrd="0" presId="urn:microsoft.com/office/officeart/2005/8/layout/default"/>
    <dgm:cxn modelId="{F509416C-C0A7-4132-B844-84EDF2E8C1A0}" type="presParOf" srcId="{6FD5015F-DAFF-46B3-A30F-DB92CA1623F5}" destId="{8F5212F7-458B-40D5-AF80-83024F615AC0}" srcOrd="5" destOrd="0" presId="urn:microsoft.com/office/officeart/2005/8/layout/default"/>
    <dgm:cxn modelId="{4843A785-A4C4-457B-AE4F-6EE60F5B6629}" type="presParOf" srcId="{6FD5015F-DAFF-46B3-A30F-DB92CA1623F5}" destId="{6B9E336F-3E70-431A-8BA5-FF3417BDB172}" srcOrd="6" destOrd="0" presId="urn:microsoft.com/office/officeart/2005/8/layout/default"/>
    <dgm:cxn modelId="{23AB49F1-A8B6-4788-B8B9-D86A7A7B376F}" type="presParOf" srcId="{6FD5015F-DAFF-46B3-A30F-DB92CA1623F5}" destId="{98E2E59F-BEE7-4EC6-856A-620A5B59753B}" srcOrd="7" destOrd="0" presId="urn:microsoft.com/office/officeart/2005/8/layout/default"/>
    <dgm:cxn modelId="{89241303-3682-4606-BBB8-970A29F03B58}" type="presParOf" srcId="{6FD5015F-DAFF-46B3-A30F-DB92CA1623F5}" destId="{3CC8B27E-1E5B-4A4D-8BDA-5E298236035B}" srcOrd="8" destOrd="0" presId="urn:microsoft.com/office/officeart/2005/8/layout/default"/>
    <dgm:cxn modelId="{30B42E01-A303-46A0-BA9F-55D8E626B92A}" type="presParOf" srcId="{6FD5015F-DAFF-46B3-A30F-DB92CA1623F5}" destId="{26A6E837-B332-46A7-80BE-89306573F2F4}" srcOrd="9" destOrd="0" presId="urn:microsoft.com/office/officeart/2005/8/layout/default"/>
    <dgm:cxn modelId="{AF930B1C-E16E-4071-9C38-16A4CBF1F7B4}" type="presParOf" srcId="{6FD5015F-DAFF-46B3-A30F-DB92CA1623F5}" destId="{031AC79E-7F11-41AA-BB38-90A41D2F314A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13AC924-E3D5-40E8-8944-6C9F55445088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98DE4A8-50A8-4ADA-9C25-47FE76FF5ACD}">
      <dgm:prSet phldrT="[Text]" custT="1"/>
      <dgm:spPr/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Rule 102: Purpose</a:t>
          </a:r>
        </a:p>
      </dgm:t>
    </dgm:pt>
    <dgm:pt modelId="{BA6FAA6D-06AD-4440-9558-C7460967078C}" type="parTrans" cxnId="{3B7C609F-1D52-4EE0-BAB9-1B95A4664B28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1C704434-BC33-4298-A4DA-BD5B879B6BA3}" type="sibTrans" cxnId="{3B7C609F-1D52-4EE0-BAB9-1B95A4664B28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7358F861-379A-4290-BAD1-2298AADA0637}">
      <dgm:prSet phldrT="[Text]" custT="1"/>
      <dgm:spPr/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Rule 104: Preliminary Questions</a:t>
          </a:r>
        </a:p>
      </dgm:t>
    </dgm:pt>
    <dgm:pt modelId="{DF973DF0-A5AC-45E8-BB30-E621E1B9B23B}" type="parTrans" cxnId="{49E3C527-B5D6-4093-B0DF-D51E52BF178A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292964CB-F91F-471C-A8DE-466819C954DF}" type="sibTrans" cxnId="{49E3C527-B5D6-4093-B0DF-D51E52BF178A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924F3AAA-A6EE-46C8-B22E-BB29A0A886CA}">
      <dgm:prSet phldrT="[Text]" custT="1"/>
      <dgm:spPr/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Rule 103: Rulings of Evidence</a:t>
          </a:r>
        </a:p>
      </dgm:t>
    </dgm:pt>
    <dgm:pt modelId="{FD47B898-D0C4-484E-9F85-74833A4E9152}" type="parTrans" cxnId="{13D56D0C-8F0D-4B6F-9431-E60C8F420EC4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1B820749-4388-464A-82BD-86E3200A2863}" type="sibTrans" cxnId="{13D56D0C-8F0D-4B6F-9431-E60C8F420EC4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79B3343A-E571-41A8-8113-D8FAB8158B7F}">
      <dgm:prSet phldrT="[Text]" custT="1"/>
      <dgm:spPr/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Rule 105: Limited Admissibility</a:t>
          </a:r>
        </a:p>
      </dgm:t>
    </dgm:pt>
    <dgm:pt modelId="{8502484F-525F-4BF4-9383-A086452DCDF8}" type="parTrans" cxnId="{EF19C750-9EF1-4909-863A-A235EB174B4A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5AEB04A5-BC4F-47A5-9567-12C566B4831E}" type="sibTrans" cxnId="{EF19C750-9EF1-4909-863A-A235EB174B4A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6812CB0C-F866-4399-B3D3-087E1711AFA5}">
      <dgm:prSet phldrT="[Text]" custT="1"/>
      <dgm:spPr/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Rule 801: Hearsay Rule</a:t>
          </a:r>
        </a:p>
      </dgm:t>
    </dgm:pt>
    <dgm:pt modelId="{C9058C2E-265D-4BCB-A2C9-E58BA4156BBE}" type="parTrans" cxnId="{D8B80F49-F7B1-4E3B-A707-6E2B32B0E69E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DCEBF33A-D40A-4CBB-88F7-E42D95FC1E10}" type="sibTrans" cxnId="{D8B80F49-F7B1-4E3B-A707-6E2B32B0E69E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393C1508-06BC-4B72-B9A0-EFED97B8595E}">
      <dgm:prSet phldrT="[Text]" custT="1"/>
      <dgm:spPr/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Rule 801: Statements that are Not Hearsay</a:t>
          </a:r>
        </a:p>
      </dgm:t>
    </dgm:pt>
    <dgm:pt modelId="{294330BB-4EE9-4DD0-B9B0-CBD85AECD82B}" type="parTrans" cxnId="{7A5FABCB-A4A4-463D-A3D4-3563F1CF334B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81368791-3F37-4EF0-8B61-150828F499F4}" type="sibTrans" cxnId="{7A5FABCB-A4A4-463D-A3D4-3563F1CF334B}">
      <dgm:prSet/>
      <dgm:spPr/>
      <dgm:t>
        <a:bodyPr/>
        <a:lstStyle/>
        <a:p>
          <a:endParaRPr lang="en-US" sz="2400" b="1">
            <a:solidFill>
              <a:schemeClr val="bg1"/>
            </a:solidFill>
          </a:endParaRPr>
        </a:p>
      </dgm:t>
    </dgm:pt>
    <dgm:pt modelId="{03EC2DB8-DE7C-48E2-BAC3-F9F83233710D}" type="pres">
      <dgm:prSet presAssocID="{D13AC924-E3D5-40E8-8944-6C9F55445088}" presName="linear" presStyleCnt="0">
        <dgm:presLayoutVars>
          <dgm:dir/>
          <dgm:animLvl val="lvl"/>
          <dgm:resizeHandles val="exact"/>
        </dgm:presLayoutVars>
      </dgm:prSet>
      <dgm:spPr/>
    </dgm:pt>
    <dgm:pt modelId="{F987625D-2D3C-433B-A0B5-57223617CF3F}" type="pres">
      <dgm:prSet presAssocID="{298DE4A8-50A8-4ADA-9C25-47FE76FF5ACD}" presName="parentLin" presStyleCnt="0"/>
      <dgm:spPr/>
    </dgm:pt>
    <dgm:pt modelId="{BB1275E6-956A-4DD4-863A-4F4A11BE967D}" type="pres">
      <dgm:prSet presAssocID="{298DE4A8-50A8-4ADA-9C25-47FE76FF5ACD}" presName="parentLeftMargin" presStyleLbl="node1" presStyleIdx="0" presStyleCnt="6"/>
      <dgm:spPr/>
    </dgm:pt>
    <dgm:pt modelId="{6A9B2748-D12F-4190-9673-8F88B00EFE36}" type="pres">
      <dgm:prSet presAssocID="{298DE4A8-50A8-4ADA-9C25-47FE76FF5ACD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3F4B5EE4-2B81-42A1-A246-EAC5D874B703}" type="pres">
      <dgm:prSet presAssocID="{298DE4A8-50A8-4ADA-9C25-47FE76FF5ACD}" presName="negativeSpace" presStyleCnt="0"/>
      <dgm:spPr/>
    </dgm:pt>
    <dgm:pt modelId="{28DF0D37-402D-46B1-80BB-23B01269F5A3}" type="pres">
      <dgm:prSet presAssocID="{298DE4A8-50A8-4ADA-9C25-47FE76FF5ACD}" presName="childText" presStyleLbl="conFgAcc1" presStyleIdx="0" presStyleCnt="6">
        <dgm:presLayoutVars>
          <dgm:bulletEnabled val="1"/>
        </dgm:presLayoutVars>
      </dgm:prSet>
      <dgm:spPr/>
    </dgm:pt>
    <dgm:pt modelId="{6A750CA6-7A9A-4594-9893-020B758831A8}" type="pres">
      <dgm:prSet presAssocID="{1C704434-BC33-4298-A4DA-BD5B879B6BA3}" presName="spaceBetweenRectangles" presStyleCnt="0"/>
      <dgm:spPr/>
    </dgm:pt>
    <dgm:pt modelId="{0CB8D389-EB8B-406A-AF83-40F7E12C6DC9}" type="pres">
      <dgm:prSet presAssocID="{924F3AAA-A6EE-46C8-B22E-BB29A0A886CA}" presName="parentLin" presStyleCnt="0"/>
      <dgm:spPr/>
    </dgm:pt>
    <dgm:pt modelId="{7F61000A-06E5-4DB2-840F-5C29E020AF39}" type="pres">
      <dgm:prSet presAssocID="{924F3AAA-A6EE-46C8-B22E-BB29A0A886CA}" presName="parentLeftMargin" presStyleLbl="node1" presStyleIdx="0" presStyleCnt="6"/>
      <dgm:spPr/>
    </dgm:pt>
    <dgm:pt modelId="{A743AFEE-00F4-496F-85B7-FAE6158B3259}" type="pres">
      <dgm:prSet presAssocID="{924F3AAA-A6EE-46C8-B22E-BB29A0A886CA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50B72B6C-6994-46D2-893E-F5843CFCB82E}" type="pres">
      <dgm:prSet presAssocID="{924F3AAA-A6EE-46C8-B22E-BB29A0A886CA}" presName="negativeSpace" presStyleCnt="0"/>
      <dgm:spPr/>
    </dgm:pt>
    <dgm:pt modelId="{310BD228-B794-4A8F-BD89-E19F22F84969}" type="pres">
      <dgm:prSet presAssocID="{924F3AAA-A6EE-46C8-B22E-BB29A0A886CA}" presName="childText" presStyleLbl="conFgAcc1" presStyleIdx="1" presStyleCnt="6">
        <dgm:presLayoutVars>
          <dgm:bulletEnabled val="1"/>
        </dgm:presLayoutVars>
      </dgm:prSet>
      <dgm:spPr/>
    </dgm:pt>
    <dgm:pt modelId="{B363A62D-1B47-4300-A0F5-071B20FF05B2}" type="pres">
      <dgm:prSet presAssocID="{1B820749-4388-464A-82BD-86E3200A2863}" presName="spaceBetweenRectangles" presStyleCnt="0"/>
      <dgm:spPr/>
    </dgm:pt>
    <dgm:pt modelId="{7C51F2B2-CCC5-4852-BE4A-FDA875633E25}" type="pres">
      <dgm:prSet presAssocID="{7358F861-379A-4290-BAD1-2298AADA0637}" presName="parentLin" presStyleCnt="0"/>
      <dgm:spPr/>
    </dgm:pt>
    <dgm:pt modelId="{F4025683-81FE-46B8-9073-0E70E6A2124C}" type="pres">
      <dgm:prSet presAssocID="{7358F861-379A-4290-BAD1-2298AADA0637}" presName="parentLeftMargin" presStyleLbl="node1" presStyleIdx="1" presStyleCnt="6"/>
      <dgm:spPr/>
    </dgm:pt>
    <dgm:pt modelId="{B9E5F130-4032-4A68-BE0B-6A90790A2D09}" type="pres">
      <dgm:prSet presAssocID="{7358F861-379A-4290-BAD1-2298AADA0637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255EBC09-301C-44E4-810B-2F5BBF234D97}" type="pres">
      <dgm:prSet presAssocID="{7358F861-379A-4290-BAD1-2298AADA0637}" presName="negativeSpace" presStyleCnt="0"/>
      <dgm:spPr/>
    </dgm:pt>
    <dgm:pt modelId="{E89C06BB-DB98-4E57-93B1-9801F031C146}" type="pres">
      <dgm:prSet presAssocID="{7358F861-379A-4290-BAD1-2298AADA0637}" presName="childText" presStyleLbl="conFgAcc1" presStyleIdx="2" presStyleCnt="6">
        <dgm:presLayoutVars>
          <dgm:bulletEnabled val="1"/>
        </dgm:presLayoutVars>
      </dgm:prSet>
      <dgm:spPr/>
    </dgm:pt>
    <dgm:pt modelId="{4CE99CF5-FF02-496E-9029-DFDF46E293A2}" type="pres">
      <dgm:prSet presAssocID="{292964CB-F91F-471C-A8DE-466819C954DF}" presName="spaceBetweenRectangles" presStyleCnt="0"/>
      <dgm:spPr/>
    </dgm:pt>
    <dgm:pt modelId="{14595D00-2148-4454-9C42-A31222014D79}" type="pres">
      <dgm:prSet presAssocID="{79B3343A-E571-41A8-8113-D8FAB8158B7F}" presName="parentLin" presStyleCnt="0"/>
      <dgm:spPr/>
    </dgm:pt>
    <dgm:pt modelId="{9069EC47-3DC4-4A81-AB7E-ADCE7D823CF1}" type="pres">
      <dgm:prSet presAssocID="{79B3343A-E571-41A8-8113-D8FAB8158B7F}" presName="parentLeftMargin" presStyleLbl="node1" presStyleIdx="2" presStyleCnt="6"/>
      <dgm:spPr/>
    </dgm:pt>
    <dgm:pt modelId="{D7EA8955-E37A-4EAC-8FF5-65C197434FA3}" type="pres">
      <dgm:prSet presAssocID="{79B3343A-E571-41A8-8113-D8FAB8158B7F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2123CE8D-D407-4992-8A06-2F5C2940EBD3}" type="pres">
      <dgm:prSet presAssocID="{79B3343A-E571-41A8-8113-D8FAB8158B7F}" presName="negativeSpace" presStyleCnt="0"/>
      <dgm:spPr/>
    </dgm:pt>
    <dgm:pt modelId="{3FEB036E-D781-43DC-B691-7379CC3C2117}" type="pres">
      <dgm:prSet presAssocID="{79B3343A-E571-41A8-8113-D8FAB8158B7F}" presName="childText" presStyleLbl="conFgAcc1" presStyleIdx="3" presStyleCnt="6">
        <dgm:presLayoutVars>
          <dgm:bulletEnabled val="1"/>
        </dgm:presLayoutVars>
      </dgm:prSet>
      <dgm:spPr/>
    </dgm:pt>
    <dgm:pt modelId="{77413763-50DC-4E6F-B3C2-99C26C7041B1}" type="pres">
      <dgm:prSet presAssocID="{5AEB04A5-BC4F-47A5-9567-12C566B4831E}" presName="spaceBetweenRectangles" presStyleCnt="0"/>
      <dgm:spPr/>
    </dgm:pt>
    <dgm:pt modelId="{92681F4A-90D8-4A00-9D6F-DDB8B1DE806E}" type="pres">
      <dgm:prSet presAssocID="{6812CB0C-F866-4399-B3D3-087E1711AFA5}" presName="parentLin" presStyleCnt="0"/>
      <dgm:spPr/>
    </dgm:pt>
    <dgm:pt modelId="{D5BFE882-173A-4933-9B1B-92705E534464}" type="pres">
      <dgm:prSet presAssocID="{6812CB0C-F866-4399-B3D3-087E1711AFA5}" presName="parentLeftMargin" presStyleLbl="node1" presStyleIdx="3" presStyleCnt="6"/>
      <dgm:spPr/>
    </dgm:pt>
    <dgm:pt modelId="{2BAD6F44-C965-4AF0-8957-947EE9731FDC}" type="pres">
      <dgm:prSet presAssocID="{6812CB0C-F866-4399-B3D3-087E1711AFA5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B03AAB7C-3601-4DAB-AB8E-F75B91A7D523}" type="pres">
      <dgm:prSet presAssocID="{6812CB0C-F866-4399-B3D3-087E1711AFA5}" presName="negativeSpace" presStyleCnt="0"/>
      <dgm:spPr/>
    </dgm:pt>
    <dgm:pt modelId="{56CCA9A4-7995-43E0-80D2-4CF8577FF273}" type="pres">
      <dgm:prSet presAssocID="{6812CB0C-F866-4399-B3D3-087E1711AFA5}" presName="childText" presStyleLbl="conFgAcc1" presStyleIdx="4" presStyleCnt="6">
        <dgm:presLayoutVars>
          <dgm:bulletEnabled val="1"/>
        </dgm:presLayoutVars>
      </dgm:prSet>
      <dgm:spPr/>
    </dgm:pt>
    <dgm:pt modelId="{321BC346-BC2D-4453-8432-7812B01F3F74}" type="pres">
      <dgm:prSet presAssocID="{DCEBF33A-D40A-4CBB-88F7-E42D95FC1E10}" presName="spaceBetweenRectangles" presStyleCnt="0"/>
      <dgm:spPr/>
    </dgm:pt>
    <dgm:pt modelId="{911174EE-6F85-476A-BF98-BCBD92D50954}" type="pres">
      <dgm:prSet presAssocID="{393C1508-06BC-4B72-B9A0-EFED97B8595E}" presName="parentLin" presStyleCnt="0"/>
      <dgm:spPr/>
    </dgm:pt>
    <dgm:pt modelId="{E9478453-68BA-48CF-8A50-BC04C17DC14A}" type="pres">
      <dgm:prSet presAssocID="{393C1508-06BC-4B72-B9A0-EFED97B8595E}" presName="parentLeftMargin" presStyleLbl="node1" presStyleIdx="4" presStyleCnt="6"/>
      <dgm:spPr/>
    </dgm:pt>
    <dgm:pt modelId="{D13F72FF-1FB7-41A5-B3CD-707E0CED4702}" type="pres">
      <dgm:prSet presAssocID="{393C1508-06BC-4B72-B9A0-EFED97B8595E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DF5733B4-56C9-4D63-A868-E0489DE84861}" type="pres">
      <dgm:prSet presAssocID="{393C1508-06BC-4B72-B9A0-EFED97B8595E}" presName="negativeSpace" presStyleCnt="0"/>
      <dgm:spPr/>
    </dgm:pt>
    <dgm:pt modelId="{942D9565-A7F7-435E-8466-C5224A836AAD}" type="pres">
      <dgm:prSet presAssocID="{393C1508-06BC-4B72-B9A0-EFED97B8595E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13D56D0C-8F0D-4B6F-9431-E60C8F420EC4}" srcId="{D13AC924-E3D5-40E8-8944-6C9F55445088}" destId="{924F3AAA-A6EE-46C8-B22E-BB29A0A886CA}" srcOrd="1" destOrd="0" parTransId="{FD47B898-D0C4-484E-9F85-74833A4E9152}" sibTransId="{1B820749-4388-464A-82BD-86E3200A2863}"/>
    <dgm:cxn modelId="{49E3C527-B5D6-4093-B0DF-D51E52BF178A}" srcId="{D13AC924-E3D5-40E8-8944-6C9F55445088}" destId="{7358F861-379A-4290-BAD1-2298AADA0637}" srcOrd="2" destOrd="0" parTransId="{DF973DF0-A5AC-45E8-BB30-E621E1B9B23B}" sibTransId="{292964CB-F91F-471C-A8DE-466819C954DF}"/>
    <dgm:cxn modelId="{51CAC329-6E52-4F1D-B8D0-474B3742D31E}" type="presOf" srcId="{79B3343A-E571-41A8-8113-D8FAB8158B7F}" destId="{9069EC47-3DC4-4A81-AB7E-ADCE7D823CF1}" srcOrd="0" destOrd="0" presId="urn:microsoft.com/office/officeart/2005/8/layout/list1"/>
    <dgm:cxn modelId="{3320B436-8935-44E7-9692-8038738474A2}" type="presOf" srcId="{393C1508-06BC-4B72-B9A0-EFED97B8595E}" destId="{E9478453-68BA-48CF-8A50-BC04C17DC14A}" srcOrd="0" destOrd="0" presId="urn:microsoft.com/office/officeart/2005/8/layout/list1"/>
    <dgm:cxn modelId="{98124A60-0B67-4908-BD69-1BC819641A7C}" type="presOf" srcId="{7358F861-379A-4290-BAD1-2298AADA0637}" destId="{B9E5F130-4032-4A68-BE0B-6A90790A2D09}" srcOrd="1" destOrd="0" presId="urn:microsoft.com/office/officeart/2005/8/layout/list1"/>
    <dgm:cxn modelId="{6F216345-0ABD-4912-A28B-1500D2500FA2}" type="presOf" srcId="{298DE4A8-50A8-4ADA-9C25-47FE76FF5ACD}" destId="{BB1275E6-956A-4DD4-863A-4F4A11BE967D}" srcOrd="0" destOrd="0" presId="urn:microsoft.com/office/officeart/2005/8/layout/list1"/>
    <dgm:cxn modelId="{D8B80F49-F7B1-4E3B-A707-6E2B32B0E69E}" srcId="{D13AC924-E3D5-40E8-8944-6C9F55445088}" destId="{6812CB0C-F866-4399-B3D3-087E1711AFA5}" srcOrd="4" destOrd="0" parTransId="{C9058C2E-265D-4BCB-A2C9-E58BA4156BBE}" sibTransId="{DCEBF33A-D40A-4CBB-88F7-E42D95FC1E10}"/>
    <dgm:cxn modelId="{CE988969-1497-43E5-B8FE-4C4C4E460017}" type="presOf" srcId="{924F3AAA-A6EE-46C8-B22E-BB29A0A886CA}" destId="{7F61000A-06E5-4DB2-840F-5C29E020AF39}" srcOrd="0" destOrd="0" presId="urn:microsoft.com/office/officeart/2005/8/layout/list1"/>
    <dgm:cxn modelId="{8408984B-E23E-4E65-8B4F-54F012858867}" type="presOf" srcId="{6812CB0C-F866-4399-B3D3-087E1711AFA5}" destId="{D5BFE882-173A-4933-9B1B-92705E534464}" srcOrd="0" destOrd="0" presId="urn:microsoft.com/office/officeart/2005/8/layout/list1"/>
    <dgm:cxn modelId="{EF19C750-9EF1-4909-863A-A235EB174B4A}" srcId="{D13AC924-E3D5-40E8-8944-6C9F55445088}" destId="{79B3343A-E571-41A8-8113-D8FAB8158B7F}" srcOrd="3" destOrd="0" parTransId="{8502484F-525F-4BF4-9383-A086452DCDF8}" sibTransId="{5AEB04A5-BC4F-47A5-9567-12C566B4831E}"/>
    <dgm:cxn modelId="{A0401E54-5E24-4247-85F5-790C9F73AE1D}" type="presOf" srcId="{298DE4A8-50A8-4ADA-9C25-47FE76FF5ACD}" destId="{6A9B2748-D12F-4190-9673-8F88B00EFE36}" srcOrd="1" destOrd="0" presId="urn:microsoft.com/office/officeart/2005/8/layout/list1"/>
    <dgm:cxn modelId="{0B767778-698D-4317-A7D5-D32F00DE9F4B}" type="presOf" srcId="{D13AC924-E3D5-40E8-8944-6C9F55445088}" destId="{03EC2DB8-DE7C-48E2-BAC3-F9F83233710D}" srcOrd="0" destOrd="0" presId="urn:microsoft.com/office/officeart/2005/8/layout/list1"/>
    <dgm:cxn modelId="{0589D17D-030B-4E72-91A7-0B392916F801}" type="presOf" srcId="{6812CB0C-F866-4399-B3D3-087E1711AFA5}" destId="{2BAD6F44-C965-4AF0-8957-947EE9731FDC}" srcOrd="1" destOrd="0" presId="urn:microsoft.com/office/officeart/2005/8/layout/list1"/>
    <dgm:cxn modelId="{4CCBB098-C872-4E50-B805-ECDF10B2039D}" type="presOf" srcId="{79B3343A-E571-41A8-8113-D8FAB8158B7F}" destId="{D7EA8955-E37A-4EAC-8FF5-65C197434FA3}" srcOrd="1" destOrd="0" presId="urn:microsoft.com/office/officeart/2005/8/layout/list1"/>
    <dgm:cxn modelId="{FDC25E9C-B417-40A3-A469-1DC398252175}" type="presOf" srcId="{393C1508-06BC-4B72-B9A0-EFED97B8595E}" destId="{D13F72FF-1FB7-41A5-B3CD-707E0CED4702}" srcOrd="1" destOrd="0" presId="urn:microsoft.com/office/officeart/2005/8/layout/list1"/>
    <dgm:cxn modelId="{3B7C609F-1D52-4EE0-BAB9-1B95A4664B28}" srcId="{D13AC924-E3D5-40E8-8944-6C9F55445088}" destId="{298DE4A8-50A8-4ADA-9C25-47FE76FF5ACD}" srcOrd="0" destOrd="0" parTransId="{BA6FAA6D-06AD-4440-9558-C7460967078C}" sibTransId="{1C704434-BC33-4298-A4DA-BD5B879B6BA3}"/>
    <dgm:cxn modelId="{53DC93B6-9296-4E43-B766-15C91EA5B293}" type="presOf" srcId="{7358F861-379A-4290-BAD1-2298AADA0637}" destId="{F4025683-81FE-46B8-9073-0E70E6A2124C}" srcOrd="0" destOrd="0" presId="urn:microsoft.com/office/officeart/2005/8/layout/list1"/>
    <dgm:cxn modelId="{7A5FABCB-A4A4-463D-A3D4-3563F1CF334B}" srcId="{D13AC924-E3D5-40E8-8944-6C9F55445088}" destId="{393C1508-06BC-4B72-B9A0-EFED97B8595E}" srcOrd="5" destOrd="0" parTransId="{294330BB-4EE9-4DD0-B9B0-CBD85AECD82B}" sibTransId="{81368791-3F37-4EF0-8B61-150828F499F4}"/>
    <dgm:cxn modelId="{AE845FD7-1239-4540-81B5-EF405042F8E8}" type="presOf" srcId="{924F3AAA-A6EE-46C8-B22E-BB29A0A886CA}" destId="{A743AFEE-00F4-496F-85B7-FAE6158B3259}" srcOrd="1" destOrd="0" presId="urn:microsoft.com/office/officeart/2005/8/layout/list1"/>
    <dgm:cxn modelId="{0AB9BCE5-DB89-4669-A72C-C630D9156BF2}" type="presParOf" srcId="{03EC2DB8-DE7C-48E2-BAC3-F9F83233710D}" destId="{F987625D-2D3C-433B-A0B5-57223617CF3F}" srcOrd="0" destOrd="0" presId="urn:microsoft.com/office/officeart/2005/8/layout/list1"/>
    <dgm:cxn modelId="{F0A57265-566D-430D-82CA-F1820FDCD8D1}" type="presParOf" srcId="{F987625D-2D3C-433B-A0B5-57223617CF3F}" destId="{BB1275E6-956A-4DD4-863A-4F4A11BE967D}" srcOrd="0" destOrd="0" presId="urn:microsoft.com/office/officeart/2005/8/layout/list1"/>
    <dgm:cxn modelId="{D6588EF0-212E-4509-A411-8A0B5A750865}" type="presParOf" srcId="{F987625D-2D3C-433B-A0B5-57223617CF3F}" destId="{6A9B2748-D12F-4190-9673-8F88B00EFE36}" srcOrd="1" destOrd="0" presId="urn:microsoft.com/office/officeart/2005/8/layout/list1"/>
    <dgm:cxn modelId="{062C2EF0-24FC-4A53-907D-4679FE517A1C}" type="presParOf" srcId="{03EC2DB8-DE7C-48E2-BAC3-F9F83233710D}" destId="{3F4B5EE4-2B81-42A1-A246-EAC5D874B703}" srcOrd="1" destOrd="0" presId="urn:microsoft.com/office/officeart/2005/8/layout/list1"/>
    <dgm:cxn modelId="{6311B236-DD16-4381-AA25-88E119842664}" type="presParOf" srcId="{03EC2DB8-DE7C-48E2-BAC3-F9F83233710D}" destId="{28DF0D37-402D-46B1-80BB-23B01269F5A3}" srcOrd="2" destOrd="0" presId="urn:microsoft.com/office/officeart/2005/8/layout/list1"/>
    <dgm:cxn modelId="{AB44611A-09D0-4954-BA39-B899309F4207}" type="presParOf" srcId="{03EC2DB8-DE7C-48E2-BAC3-F9F83233710D}" destId="{6A750CA6-7A9A-4594-9893-020B758831A8}" srcOrd="3" destOrd="0" presId="urn:microsoft.com/office/officeart/2005/8/layout/list1"/>
    <dgm:cxn modelId="{8797BFAF-8F8A-42A6-AD74-2BE2CEBF09DF}" type="presParOf" srcId="{03EC2DB8-DE7C-48E2-BAC3-F9F83233710D}" destId="{0CB8D389-EB8B-406A-AF83-40F7E12C6DC9}" srcOrd="4" destOrd="0" presId="urn:microsoft.com/office/officeart/2005/8/layout/list1"/>
    <dgm:cxn modelId="{F2D2C7A6-242F-4215-8365-092905970C31}" type="presParOf" srcId="{0CB8D389-EB8B-406A-AF83-40F7E12C6DC9}" destId="{7F61000A-06E5-4DB2-840F-5C29E020AF39}" srcOrd="0" destOrd="0" presId="urn:microsoft.com/office/officeart/2005/8/layout/list1"/>
    <dgm:cxn modelId="{B2EEB980-1121-4CDE-BD11-C94DC3AF92D1}" type="presParOf" srcId="{0CB8D389-EB8B-406A-AF83-40F7E12C6DC9}" destId="{A743AFEE-00F4-496F-85B7-FAE6158B3259}" srcOrd="1" destOrd="0" presId="urn:microsoft.com/office/officeart/2005/8/layout/list1"/>
    <dgm:cxn modelId="{F96AA86C-CC18-4AC8-9C40-744B9C08CB16}" type="presParOf" srcId="{03EC2DB8-DE7C-48E2-BAC3-F9F83233710D}" destId="{50B72B6C-6994-46D2-893E-F5843CFCB82E}" srcOrd="5" destOrd="0" presId="urn:microsoft.com/office/officeart/2005/8/layout/list1"/>
    <dgm:cxn modelId="{0753C561-D1B5-40F8-A1E6-93D39E67E1E2}" type="presParOf" srcId="{03EC2DB8-DE7C-48E2-BAC3-F9F83233710D}" destId="{310BD228-B794-4A8F-BD89-E19F22F84969}" srcOrd="6" destOrd="0" presId="urn:microsoft.com/office/officeart/2005/8/layout/list1"/>
    <dgm:cxn modelId="{6F465308-1A05-4AFE-9028-BB006B5C7C2B}" type="presParOf" srcId="{03EC2DB8-DE7C-48E2-BAC3-F9F83233710D}" destId="{B363A62D-1B47-4300-A0F5-071B20FF05B2}" srcOrd="7" destOrd="0" presId="urn:microsoft.com/office/officeart/2005/8/layout/list1"/>
    <dgm:cxn modelId="{F3B41FF1-7A4A-4AE3-9AA9-6A2073446B4B}" type="presParOf" srcId="{03EC2DB8-DE7C-48E2-BAC3-F9F83233710D}" destId="{7C51F2B2-CCC5-4852-BE4A-FDA875633E25}" srcOrd="8" destOrd="0" presId="urn:microsoft.com/office/officeart/2005/8/layout/list1"/>
    <dgm:cxn modelId="{CD8335EC-49A1-4E2E-861A-1A9B5BB4452D}" type="presParOf" srcId="{7C51F2B2-CCC5-4852-BE4A-FDA875633E25}" destId="{F4025683-81FE-46B8-9073-0E70E6A2124C}" srcOrd="0" destOrd="0" presId="urn:microsoft.com/office/officeart/2005/8/layout/list1"/>
    <dgm:cxn modelId="{94AE31AC-836D-4115-AB76-D974AF838C50}" type="presParOf" srcId="{7C51F2B2-CCC5-4852-BE4A-FDA875633E25}" destId="{B9E5F130-4032-4A68-BE0B-6A90790A2D09}" srcOrd="1" destOrd="0" presId="urn:microsoft.com/office/officeart/2005/8/layout/list1"/>
    <dgm:cxn modelId="{7E153E38-146A-48EF-906D-E840804A84BB}" type="presParOf" srcId="{03EC2DB8-DE7C-48E2-BAC3-F9F83233710D}" destId="{255EBC09-301C-44E4-810B-2F5BBF234D97}" srcOrd="9" destOrd="0" presId="urn:microsoft.com/office/officeart/2005/8/layout/list1"/>
    <dgm:cxn modelId="{561FC6CA-4795-4F4C-99E8-5B1DF0CE189F}" type="presParOf" srcId="{03EC2DB8-DE7C-48E2-BAC3-F9F83233710D}" destId="{E89C06BB-DB98-4E57-93B1-9801F031C146}" srcOrd="10" destOrd="0" presId="urn:microsoft.com/office/officeart/2005/8/layout/list1"/>
    <dgm:cxn modelId="{D79518CA-C6B7-4BE2-89C7-D3190895704E}" type="presParOf" srcId="{03EC2DB8-DE7C-48E2-BAC3-F9F83233710D}" destId="{4CE99CF5-FF02-496E-9029-DFDF46E293A2}" srcOrd="11" destOrd="0" presId="urn:microsoft.com/office/officeart/2005/8/layout/list1"/>
    <dgm:cxn modelId="{03043001-C1EE-4C32-BC16-6851E169F967}" type="presParOf" srcId="{03EC2DB8-DE7C-48E2-BAC3-F9F83233710D}" destId="{14595D00-2148-4454-9C42-A31222014D79}" srcOrd="12" destOrd="0" presId="urn:microsoft.com/office/officeart/2005/8/layout/list1"/>
    <dgm:cxn modelId="{70B3319C-CEFD-4125-AFE7-71E6F9BBA133}" type="presParOf" srcId="{14595D00-2148-4454-9C42-A31222014D79}" destId="{9069EC47-3DC4-4A81-AB7E-ADCE7D823CF1}" srcOrd="0" destOrd="0" presId="urn:microsoft.com/office/officeart/2005/8/layout/list1"/>
    <dgm:cxn modelId="{73A4AB35-70BF-4005-9C78-7F5F5CC065E0}" type="presParOf" srcId="{14595D00-2148-4454-9C42-A31222014D79}" destId="{D7EA8955-E37A-4EAC-8FF5-65C197434FA3}" srcOrd="1" destOrd="0" presId="urn:microsoft.com/office/officeart/2005/8/layout/list1"/>
    <dgm:cxn modelId="{470F1594-64C5-437C-AE7F-60BD58B92E2E}" type="presParOf" srcId="{03EC2DB8-DE7C-48E2-BAC3-F9F83233710D}" destId="{2123CE8D-D407-4992-8A06-2F5C2940EBD3}" srcOrd="13" destOrd="0" presId="urn:microsoft.com/office/officeart/2005/8/layout/list1"/>
    <dgm:cxn modelId="{A82CD8CD-4E94-4505-8792-0A08505D4A4C}" type="presParOf" srcId="{03EC2DB8-DE7C-48E2-BAC3-F9F83233710D}" destId="{3FEB036E-D781-43DC-B691-7379CC3C2117}" srcOrd="14" destOrd="0" presId="urn:microsoft.com/office/officeart/2005/8/layout/list1"/>
    <dgm:cxn modelId="{664F33AC-F025-4858-819C-44BF6E307E11}" type="presParOf" srcId="{03EC2DB8-DE7C-48E2-BAC3-F9F83233710D}" destId="{77413763-50DC-4E6F-B3C2-99C26C7041B1}" srcOrd="15" destOrd="0" presId="urn:microsoft.com/office/officeart/2005/8/layout/list1"/>
    <dgm:cxn modelId="{624FD7B0-F617-4DBC-A997-69E4DBBD6FDB}" type="presParOf" srcId="{03EC2DB8-DE7C-48E2-BAC3-F9F83233710D}" destId="{92681F4A-90D8-4A00-9D6F-DDB8B1DE806E}" srcOrd="16" destOrd="0" presId="urn:microsoft.com/office/officeart/2005/8/layout/list1"/>
    <dgm:cxn modelId="{8D31454C-2F8C-4E88-9F69-3F5F65C85751}" type="presParOf" srcId="{92681F4A-90D8-4A00-9D6F-DDB8B1DE806E}" destId="{D5BFE882-173A-4933-9B1B-92705E534464}" srcOrd="0" destOrd="0" presId="urn:microsoft.com/office/officeart/2005/8/layout/list1"/>
    <dgm:cxn modelId="{A1077F2E-DD65-4C66-A397-1277CCF25BEB}" type="presParOf" srcId="{92681F4A-90D8-4A00-9D6F-DDB8B1DE806E}" destId="{2BAD6F44-C965-4AF0-8957-947EE9731FDC}" srcOrd="1" destOrd="0" presId="urn:microsoft.com/office/officeart/2005/8/layout/list1"/>
    <dgm:cxn modelId="{99761C19-4588-4F3A-B2B8-BD01B939EE00}" type="presParOf" srcId="{03EC2DB8-DE7C-48E2-BAC3-F9F83233710D}" destId="{B03AAB7C-3601-4DAB-AB8E-F75B91A7D523}" srcOrd="17" destOrd="0" presId="urn:microsoft.com/office/officeart/2005/8/layout/list1"/>
    <dgm:cxn modelId="{C6911278-51CC-4135-A69B-0A2DAEEF5B5D}" type="presParOf" srcId="{03EC2DB8-DE7C-48E2-BAC3-F9F83233710D}" destId="{56CCA9A4-7995-43E0-80D2-4CF8577FF273}" srcOrd="18" destOrd="0" presId="urn:microsoft.com/office/officeart/2005/8/layout/list1"/>
    <dgm:cxn modelId="{C4B578B9-F451-4FC2-9EC8-8759AFF08DD3}" type="presParOf" srcId="{03EC2DB8-DE7C-48E2-BAC3-F9F83233710D}" destId="{321BC346-BC2D-4453-8432-7812B01F3F74}" srcOrd="19" destOrd="0" presId="urn:microsoft.com/office/officeart/2005/8/layout/list1"/>
    <dgm:cxn modelId="{FC45B1B0-E581-4445-8F46-D04046B6D026}" type="presParOf" srcId="{03EC2DB8-DE7C-48E2-BAC3-F9F83233710D}" destId="{911174EE-6F85-476A-BF98-BCBD92D50954}" srcOrd="20" destOrd="0" presId="urn:microsoft.com/office/officeart/2005/8/layout/list1"/>
    <dgm:cxn modelId="{9CBC51B5-A4CF-4BB3-B852-37F0EC68361B}" type="presParOf" srcId="{911174EE-6F85-476A-BF98-BCBD92D50954}" destId="{E9478453-68BA-48CF-8A50-BC04C17DC14A}" srcOrd="0" destOrd="0" presId="urn:microsoft.com/office/officeart/2005/8/layout/list1"/>
    <dgm:cxn modelId="{89758DB3-D323-4958-B560-2A88D263D3E5}" type="presParOf" srcId="{911174EE-6F85-476A-BF98-BCBD92D50954}" destId="{D13F72FF-1FB7-41A5-B3CD-707E0CED4702}" srcOrd="1" destOrd="0" presId="urn:microsoft.com/office/officeart/2005/8/layout/list1"/>
    <dgm:cxn modelId="{D0F99823-2377-4CBA-8E3B-952B1F57A3E5}" type="presParOf" srcId="{03EC2DB8-DE7C-48E2-BAC3-F9F83233710D}" destId="{DF5733B4-56C9-4D63-A868-E0489DE84861}" srcOrd="21" destOrd="0" presId="urn:microsoft.com/office/officeart/2005/8/layout/list1"/>
    <dgm:cxn modelId="{3DAD4799-CFF2-4E87-8341-BA5E22FB0A78}" type="presParOf" srcId="{03EC2DB8-DE7C-48E2-BAC3-F9F83233710D}" destId="{942D9565-A7F7-435E-8466-C5224A836AAD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13AC924-E3D5-40E8-8944-6C9F55445088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CFB6851-FB50-4503-ADEC-2536E3B3CB0B}">
      <dgm:prSet phldrT="[Text]" custT="1"/>
      <dgm:spPr/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Rule 803: Hearsay Exceptions (availability of Declarant Immaterial)</a:t>
          </a:r>
        </a:p>
      </dgm:t>
    </dgm:pt>
    <dgm:pt modelId="{D54A62EC-5077-429B-86B0-18DC50E9B45D}" type="parTrans" cxnId="{62E99584-ED37-422D-BC88-8B9132057286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5FF6F61C-43DD-42CF-ACBD-F60975C6026E}" type="sibTrans" cxnId="{62E99584-ED37-422D-BC88-8B9132057286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AA4F5ADA-9FB9-4329-8524-5AE438819BAC}">
      <dgm:prSet phldrT="[Text]" custT="1"/>
      <dgm:spPr/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Rule 804: Hearsay Exceptions (Declarant Unavailable)</a:t>
          </a:r>
        </a:p>
      </dgm:t>
    </dgm:pt>
    <dgm:pt modelId="{B6C123AA-D05F-4F98-A421-0B40EA71DA45}" type="parTrans" cxnId="{4EBCCF90-33C5-4237-9BBF-F0DF58FFBAF3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60B3AB6E-CC62-4C38-8D7B-D1C37A4CABF3}" type="sibTrans" cxnId="{4EBCCF90-33C5-4237-9BBF-F0DF58FFBAF3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D97404E1-F9B9-46B0-BD64-4FE8E3CA4E3C}">
      <dgm:prSet phldrT="[Text]" custT="1"/>
      <dgm:spPr/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Rule 1001: Definitions that apply</a:t>
          </a:r>
        </a:p>
      </dgm:t>
    </dgm:pt>
    <dgm:pt modelId="{9191DD8A-0619-421E-BC44-FF8B464CF3A1}" type="parTrans" cxnId="{4717800E-5D2F-4737-9D2A-1EB66C7235AB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2BA81EE7-3C15-49AD-A4A2-BC9BD509F886}" type="sibTrans" cxnId="{4717800E-5D2F-4737-9D2A-1EB66C7235AB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0EF43A00-9D5E-4F55-A0FF-DAAFCF372E58}">
      <dgm:prSet phldrT="[Text]" custT="1"/>
      <dgm:spPr/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Rule 1002: Requirement of Original</a:t>
          </a:r>
        </a:p>
      </dgm:t>
    </dgm:pt>
    <dgm:pt modelId="{48BD43F9-E342-4BFB-BD79-B78DE3AC0791}" type="parTrans" cxnId="{F1581DD0-9B02-4A6E-B71D-4F0660C653F8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F2D4E809-5F42-4267-AFF9-70CC05B3A2AE}" type="sibTrans" cxnId="{F1581DD0-9B02-4A6E-B71D-4F0660C653F8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68AA02FF-B916-4856-BE52-61F9AF78F1D7}">
      <dgm:prSet phldrT="[Text]" custT="1"/>
      <dgm:spPr/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Rule 1003: Admissibility of Duplicates</a:t>
          </a:r>
        </a:p>
      </dgm:t>
    </dgm:pt>
    <dgm:pt modelId="{56333C43-A00A-465A-B9A9-824CBB7C9623}" type="parTrans" cxnId="{0870B995-D6C0-4FD4-8280-9E9C21C596D0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3DBCEBFA-9A8A-453C-90E6-6E30951EEB0E}" type="sibTrans" cxnId="{0870B995-D6C0-4FD4-8280-9E9C21C596D0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238BA100-437B-4C4F-B613-D166DA0E3C9E}">
      <dgm:prSet phldrT="[Text]" custT="1"/>
      <dgm:spPr/>
      <dgm:t>
        <a:bodyPr/>
        <a:lstStyle/>
        <a:p>
          <a:r>
            <a:rPr lang="en-US" sz="1600" b="1" dirty="0">
              <a:solidFill>
                <a:schemeClr val="bg1"/>
              </a:solidFill>
            </a:rPr>
            <a:t>Rule 1004: Admissibility of Other Evidence of Contents</a:t>
          </a:r>
        </a:p>
      </dgm:t>
    </dgm:pt>
    <dgm:pt modelId="{FC68DB76-6007-4CF8-98B5-40A6BB8949BC}" type="parTrans" cxnId="{05187659-56FF-438B-B364-D8F4A8DA8FD3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B422FA0F-2605-4D42-8E99-DB69EC737C2D}" type="sibTrans" cxnId="{05187659-56FF-438B-B364-D8F4A8DA8FD3}">
      <dgm:prSet/>
      <dgm:spPr/>
      <dgm:t>
        <a:bodyPr/>
        <a:lstStyle/>
        <a:p>
          <a:endParaRPr lang="en-US" sz="2000" b="1">
            <a:solidFill>
              <a:schemeClr val="bg1"/>
            </a:solidFill>
          </a:endParaRPr>
        </a:p>
      </dgm:t>
    </dgm:pt>
    <dgm:pt modelId="{03EC2DB8-DE7C-48E2-BAC3-F9F83233710D}" type="pres">
      <dgm:prSet presAssocID="{D13AC924-E3D5-40E8-8944-6C9F55445088}" presName="linear" presStyleCnt="0">
        <dgm:presLayoutVars>
          <dgm:dir/>
          <dgm:animLvl val="lvl"/>
          <dgm:resizeHandles val="exact"/>
        </dgm:presLayoutVars>
      </dgm:prSet>
      <dgm:spPr/>
    </dgm:pt>
    <dgm:pt modelId="{2A0D30DF-C413-4381-B2D2-AAEF47A8EC26}" type="pres">
      <dgm:prSet presAssocID="{ACFB6851-FB50-4503-ADEC-2536E3B3CB0B}" presName="parentLin" presStyleCnt="0"/>
      <dgm:spPr/>
    </dgm:pt>
    <dgm:pt modelId="{E1471DAD-C738-4FC4-8B60-438CE46C398E}" type="pres">
      <dgm:prSet presAssocID="{ACFB6851-FB50-4503-ADEC-2536E3B3CB0B}" presName="parentLeftMargin" presStyleLbl="node1" presStyleIdx="0" presStyleCnt="6"/>
      <dgm:spPr/>
    </dgm:pt>
    <dgm:pt modelId="{B3BFA35F-4CB5-4790-B502-04C5008CAE02}" type="pres">
      <dgm:prSet presAssocID="{ACFB6851-FB50-4503-ADEC-2536E3B3CB0B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58E0E966-40E5-40BB-9170-810FB52D38A7}" type="pres">
      <dgm:prSet presAssocID="{ACFB6851-FB50-4503-ADEC-2536E3B3CB0B}" presName="negativeSpace" presStyleCnt="0"/>
      <dgm:spPr/>
    </dgm:pt>
    <dgm:pt modelId="{A4894B67-8DD9-457C-BA8C-0EEBDA830A2C}" type="pres">
      <dgm:prSet presAssocID="{ACFB6851-FB50-4503-ADEC-2536E3B3CB0B}" presName="childText" presStyleLbl="conFgAcc1" presStyleIdx="0" presStyleCnt="6">
        <dgm:presLayoutVars>
          <dgm:bulletEnabled val="1"/>
        </dgm:presLayoutVars>
      </dgm:prSet>
      <dgm:spPr/>
    </dgm:pt>
    <dgm:pt modelId="{6385D07C-FB1F-41B9-AE0D-688F69750D4D}" type="pres">
      <dgm:prSet presAssocID="{5FF6F61C-43DD-42CF-ACBD-F60975C6026E}" presName="spaceBetweenRectangles" presStyleCnt="0"/>
      <dgm:spPr/>
    </dgm:pt>
    <dgm:pt modelId="{A2EA9FC5-0E67-4E26-94CF-6AD1DD56A028}" type="pres">
      <dgm:prSet presAssocID="{AA4F5ADA-9FB9-4329-8524-5AE438819BAC}" presName="parentLin" presStyleCnt="0"/>
      <dgm:spPr/>
    </dgm:pt>
    <dgm:pt modelId="{2E43C2F4-F00E-48CA-A989-1633CEBCE644}" type="pres">
      <dgm:prSet presAssocID="{AA4F5ADA-9FB9-4329-8524-5AE438819BAC}" presName="parentLeftMargin" presStyleLbl="node1" presStyleIdx="0" presStyleCnt="6"/>
      <dgm:spPr/>
    </dgm:pt>
    <dgm:pt modelId="{D0497B70-208F-4B97-89FA-E332C9C0A683}" type="pres">
      <dgm:prSet presAssocID="{AA4F5ADA-9FB9-4329-8524-5AE438819BAC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2295FC7D-E544-4D37-9208-E78DFE68B5BD}" type="pres">
      <dgm:prSet presAssocID="{AA4F5ADA-9FB9-4329-8524-5AE438819BAC}" presName="negativeSpace" presStyleCnt="0"/>
      <dgm:spPr/>
    </dgm:pt>
    <dgm:pt modelId="{867050F0-386A-4BD1-AC68-5F196C1662A4}" type="pres">
      <dgm:prSet presAssocID="{AA4F5ADA-9FB9-4329-8524-5AE438819BAC}" presName="childText" presStyleLbl="conFgAcc1" presStyleIdx="1" presStyleCnt="6">
        <dgm:presLayoutVars>
          <dgm:bulletEnabled val="1"/>
        </dgm:presLayoutVars>
      </dgm:prSet>
      <dgm:spPr/>
    </dgm:pt>
    <dgm:pt modelId="{7D5BFA04-0E00-4D3C-917E-C9E3F80230C1}" type="pres">
      <dgm:prSet presAssocID="{60B3AB6E-CC62-4C38-8D7B-D1C37A4CABF3}" presName="spaceBetweenRectangles" presStyleCnt="0"/>
      <dgm:spPr/>
    </dgm:pt>
    <dgm:pt modelId="{7BBC0417-872E-4802-AEA7-F97E6672E18B}" type="pres">
      <dgm:prSet presAssocID="{D97404E1-F9B9-46B0-BD64-4FE8E3CA4E3C}" presName="parentLin" presStyleCnt="0"/>
      <dgm:spPr/>
    </dgm:pt>
    <dgm:pt modelId="{6BAB48B1-BCF2-4ABB-97CE-3850480245B7}" type="pres">
      <dgm:prSet presAssocID="{D97404E1-F9B9-46B0-BD64-4FE8E3CA4E3C}" presName="parentLeftMargin" presStyleLbl="node1" presStyleIdx="1" presStyleCnt="6"/>
      <dgm:spPr/>
    </dgm:pt>
    <dgm:pt modelId="{981F7EAC-7706-4E69-B49A-092F12FB6BB9}" type="pres">
      <dgm:prSet presAssocID="{D97404E1-F9B9-46B0-BD64-4FE8E3CA4E3C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8FAD6F7A-AE1F-4618-BED8-0578CA3F6063}" type="pres">
      <dgm:prSet presAssocID="{D97404E1-F9B9-46B0-BD64-4FE8E3CA4E3C}" presName="negativeSpace" presStyleCnt="0"/>
      <dgm:spPr/>
    </dgm:pt>
    <dgm:pt modelId="{9A17E1F4-1828-414C-9D67-A8E9583DDE9B}" type="pres">
      <dgm:prSet presAssocID="{D97404E1-F9B9-46B0-BD64-4FE8E3CA4E3C}" presName="childText" presStyleLbl="conFgAcc1" presStyleIdx="2" presStyleCnt="6">
        <dgm:presLayoutVars>
          <dgm:bulletEnabled val="1"/>
        </dgm:presLayoutVars>
      </dgm:prSet>
      <dgm:spPr/>
    </dgm:pt>
    <dgm:pt modelId="{0B4677DA-776B-4B33-8EA8-7473CB874161}" type="pres">
      <dgm:prSet presAssocID="{2BA81EE7-3C15-49AD-A4A2-BC9BD509F886}" presName="spaceBetweenRectangles" presStyleCnt="0"/>
      <dgm:spPr/>
    </dgm:pt>
    <dgm:pt modelId="{17250116-9213-499B-9375-7BC98854BEE4}" type="pres">
      <dgm:prSet presAssocID="{0EF43A00-9D5E-4F55-A0FF-DAAFCF372E58}" presName="parentLin" presStyleCnt="0"/>
      <dgm:spPr/>
    </dgm:pt>
    <dgm:pt modelId="{2F827FC7-9DFD-4C8A-81F1-5CEBD860E797}" type="pres">
      <dgm:prSet presAssocID="{0EF43A00-9D5E-4F55-A0FF-DAAFCF372E58}" presName="parentLeftMargin" presStyleLbl="node1" presStyleIdx="2" presStyleCnt="6"/>
      <dgm:spPr/>
    </dgm:pt>
    <dgm:pt modelId="{0B582544-F55A-4D33-A2C8-EFC6E387D556}" type="pres">
      <dgm:prSet presAssocID="{0EF43A00-9D5E-4F55-A0FF-DAAFCF372E58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0022A2B8-79E7-41E4-8639-60DACE08F563}" type="pres">
      <dgm:prSet presAssocID="{0EF43A00-9D5E-4F55-A0FF-DAAFCF372E58}" presName="negativeSpace" presStyleCnt="0"/>
      <dgm:spPr/>
    </dgm:pt>
    <dgm:pt modelId="{446B128C-400B-4666-8807-1E8D9561EC20}" type="pres">
      <dgm:prSet presAssocID="{0EF43A00-9D5E-4F55-A0FF-DAAFCF372E58}" presName="childText" presStyleLbl="conFgAcc1" presStyleIdx="3" presStyleCnt="6">
        <dgm:presLayoutVars>
          <dgm:bulletEnabled val="1"/>
        </dgm:presLayoutVars>
      </dgm:prSet>
      <dgm:spPr/>
    </dgm:pt>
    <dgm:pt modelId="{D6CE62D9-C212-47A4-89D9-DF0982B2F3DC}" type="pres">
      <dgm:prSet presAssocID="{F2D4E809-5F42-4267-AFF9-70CC05B3A2AE}" presName="spaceBetweenRectangles" presStyleCnt="0"/>
      <dgm:spPr/>
    </dgm:pt>
    <dgm:pt modelId="{729A0264-C55E-4DAE-B3F0-26AD00BA8496}" type="pres">
      <dgm:prSet presAssocID="{68AA02FF-B916-4856-BE52-61F9AF78F1D7}" presName="parentLin" presStyleCnt="0"/>
      <dgm:spPr/>
    </dgm:pt>
    <dgm:pt modelId="{9A9AD05B-7395-45B3-931C-2FCAD212B438}" type="pres">
      <dgm:prSet presAssocID="{68AA02FF-B916-4856-BE52-61F9AF78F1D7}" presName="parentLeftMargin" presStyleLbl="node1" presStyleIdx="3" presStyleCnt="6"/>
      <dgm:spPr/>
    </dgm:pt>
    <dgm:pt modelId="{6943AF6C-0F1D-464C-8162-433D9ED0A09D}" type="pres">
      <dgm:prSet presAssocID="{68AA02FF-B916-4856-BE52-61F9AF78F1D7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440308E4-8886-4DF4-8178-D468DD0889EA}" type="pres">
      <dgm:prSet presAssocID="{68AA02FF-B916-4856-BE52-61F9AF78F1D7}" presName="negativeSpace" presStyleCnt="0"/>
      <dgm:spPr/>
    </dgm:pt>
    <dgm:pt modelId="{5A24C0A1-172F-4EE5-88FD-D1A4DAB9F0B6}" type="pres">
      <dgm:prSet presAssocID="{68AA02FF-B916-4856-BE52-61F9AF78F1D7}" presName="childText" presStyleLbl="conFgAcc1" presStyleIdx="4" presStyleCnt="6">
        <dgm:presLayoutVars>
          <dgm:bulletEnabled val="1"/>
        </dgm:presLayoutVars>
      </dgm:prSet>
      <dgm:spPr/>
    </dgm:pt>
    <dgm:pt modelId="{1395F56E-A8E7-47D8-B3D6-93740E0E2B83}" type="pres">
      <dgm:prSet presAssocID="{3DBCEBFA-9A8A-453C-90E6-6E30951EEB0E}" presName="spaceBetweenRectangles" presStyleCnt="0"/>
      <dgm:spPr/>
    </dgm:pt>
    <dgm:pt modelId="{A392D01F-E7F1-47DF-95DB-CE958DFE7FB4}" type="pres">
      <dgm:prSet presAssocID="{238BA100-437B-4C4F-B613-D166DA0E3C9E}" presName="parentLin" presStyleCnt="0"/>
      <dgm:spPr/>
    </dgm:pt>
    <dgm:pt modelId="{BEDA058B-DA67-4933-930D-46F3651CD804}" type="pres">
      <dgm:prSet presAssocID="{238BA100-437B-4C4F-B613-D166DA0E3C9E}" presName="parentLeftMargin" presStyleLbl="node1" presStyleIdx="4" presStyleCnt="6"/>
      <dgm:spPr/>
    </dgm:pt>
    <dgm:pt modelId="{0407FA9D-D2E3-42BF-BB30-8E0DA3EAABF3}" type="pres">
      <dgm:prSet presAssocID="{238BA100-437B-4C4F-B613-D166DA0E3C9E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8AAB8E62-74CE-4C75-9AA6-52B804C68166}" type="pres">
      <dgm:prSet presAssocID="{238BA100-437B-4C4F-B613-D166DA0E3C9E}" presName="negativeSpace" presStyleCnt="0"/>
      <dgm:spPr/>
    </dgm:pt>
    <dgm:pt modelId="{A2617942-36EC-41CA-AFC3-0F9B632985A7}" type="pres">
      <dgm:prSet presAssocID="{238BA100-437B-4C4F-B613-D166DA0E3C9E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C3CC6E0A-F1E5-4BE7-A754-2963FF4359B8}" type="presOf" srcId="{238BA100-437B-4C4F-B613-D166DA0E3C9E}" destId="{0407FA9D-D2E3-42BF-BB30-8E0DA3EAABF3}" srcOrd="1" destOrd="0" presId="urn:microsoft.com/office/officeart/2005/8/layout/list1"/>
    <dgm:cxn modelId="{4717800E-5D2F-4737-9D2A-1EB66C7235AB}" srcId="{D13AC924-E3D5-40E8-8944-6C9F55445088}" destId="{D97404E1-F9B9-46B0-BD64-4FE8E3CA4E3C}" srcOrd="2" destOrd="0" parTransId="{9191DD8A-0619-421E-BC44-FF8B464CF3A1}" sibTransId="{2BA81EE7-3C15-49AD-A4A2-BC9BD509F886}"/>
    <dgm:cxn modelId="{00EF3D1D-BB1B-4636-A6D4-1AE2C7F57D2C}" type="presOf" srcId="{D97404E1-F9B9-46B0-BD64-4FE8E3CA4E3C}" destId="{981F7EAC-7706-4E69-B49A-092F12FB6BB9}" srcOrd="1" destOrd="0" presId="urn:microsoft.com/office/officeart/2005/8/layout/list1"/>
    <dgm:cxn modelId="{79731022-2DF1-4B93-9FC4-8AB7F8F95345}" type="presOf" srcId="{0EF43A00-9D5E-4F55-A0FF-DAAFCF372E58}" destId="{0B582544-F55A-4D33-A2C8-EFC6E387D556}" srcOrd="1" destOrd="0" presId="urn:microsoft.com/office/officeart/2005/8/layout/list1"/>
    <dgm:cxn modelId="{225E4042-D3BC-4FF2-BB1F-A3499DDE2B33}" type="presOf" srcId="{68AA02FF-B916-4856-BE52-61F9AF78F1D7}" destId="{9A9AD05B-7395-45B3-931C-2FCAD212B438}" srcOrd="0" destOrd="0" presId="urn:microsoft.com/office/officeart/2005/8/layout/list1"/>
    <dgm:cxn modelId="{CC65F044-16F8-4CA7-8DDF-42C82F80A18A}" type="presOf" srcId="{ACFB6851-FB50-4503-ADEC-2536E3B3CB0B}" destId="{E1471DAD-C738-4FC4-8B60-438CE46C398E}" srcOrd="0" destOrd="0" presId="urn:microsoft.com/office/officeart/2005/8/layout/list1"/>
    <dgm:cxn modelId="{E289C372-0C03-4D9B-80BC-1393B680BB4A}" type="presOf" srcId="{D97404E1-F9B9-46B0-BD64-4FE8E3CA4E3C}" destId="{6BAB48B1-BCF2-4ABB-97CE-3850480245B7}" srcOrd="0" destOrd="0" presId="urn:microsoft.com/office/officeart/2005/8/layout/list1"/>
    <dgm:cxn modelId="{0B767778-698D-4317-A7D5-D32F00DE9F4B}" type="presOf" srcId="{D13AC924-E3D5-40E8-8944-6C9F55445088}" destId="{03EC2DB8-DE7C-48E2-BAC3-F9F83233710D}" srcOrd="0" destOrd="0" presId="urn:microsoft.com/office/officeart/2005/8/layout/list1"/>
    <dgm:cxn modelId="{05187659-56FF-438B-B364-D8F4A8DA8FD3}" srcId="{D13AC924-E3D5-40E8-8944-6C9F55445088}" destId="{238BA100-437B-4C4F-B613-D166DA0E3C9E}" srcOrd="5" destOrd="0" parTransId="{FC68DB76-6007-4CF8-98B5-40A6BB8949BC}" sibTransId="{B422FA0F-2605-4D42-8E99-DB69EC737C2D}"/>
    <dgm:cxn modelId="{62E99584-ED37-422D-BC88-8B9132057286}" srcId="{D13AC924-E3D5-40E8-8944-6C9F55445088}" destId="{ACFB6851-FB50-4503-ADEC-2536E3B3CB0B}" srcOrd="0" destOrd="0" parTransId="{D54A62EC-5077-429B-86B0-18DC50E9B45D}" sibTransId="{5FF6F61C-43DD-42CF-ACBD-F60975C6026E}"/>
    <dgm:cxn modelId="{F3CAB48A-DA50-49A1-992B-3F6949C5A807}" type="presOf" srcId="{AA4F5ADA-9FB9-4329-8524-5AE438819BAC}" destId="{D0497B70-208F-4B97-89FA-E332C9C0A683}" srcOrd="1" destOrd="0" presId="urn:microsoft.com/office/officeart/2005/8/layout/list1"/>
    <dgm:cxn modelId="{7924C38D-B6E1-473C-8609-F81FC463C11F}" type="presOf" srcId="{0EF43A00-9D5E-4F55-A0FF-DAAFCF372E58}" destId="{2F827FC7-9DFD-4C8A-81F1-5CEBD860E797}" srcOrd="0" destOrd="0" presId="urn:microsoft.com/office/officeart/2005/8/layout/list1"/>
    <dgm:cxn modelId="{4EBCCF90-33C5-4237-9BBF-F0DF58FFBAF3}" srcId="{D13AC924-E3D5-40E8-8944-6C9F55445088}" destId="{AA4F5ADA-9FB9-4329-8524-5AE438819BAC}" srcOrd="1" destOrd="0" parTransId="{B6C123AA-D05F-4F98-A421-0B40EA71DA45}" sibTransId="{60B3AB6E-CC62-4C38-8D7B-D1C37A4CABF3}"/>
    <dgm:cxn modelId="{0870B995-D6C0-4FD4-8280-9E9C21C596D0}" srcId="{D13AC924-E3D5-40E8-8944-6C9F55445088}" destId="{68AA02FF-B916-4856-BE52-61F9AF78F1D7}" srcOrd="4" destOrd="0" parTransId="{56333C43-A00A-465A-B9A9-824CBB7C9623}" sibTransId="{3DBCEBFA-9A8A-453C-90E6-6E30951EEB0E}"/>
    <dgm:cxn modelId="{BAA79599-8355-43AF-904C-67643ACD062C}" type="presOf" srcId="{AA4F5ADA-9FB9-4329-8524-5AE438819BAC}" destId="{2E43C2F4-F00E-48CA-A989-1633CEBCE644}" srcOrd="0" destOrd="0" presId="urn:microsoft.com/office/officeart/2005/8/layout/list1"/>
    <dgm:cxn modelId="{564E67C3-5889-468C-92D8-725A837CA14E}" type="presOf" srcId="{68AA02FF-B916-4856-BE52-61F9AF78F1D7}" destId="{6943AF6C-0F1D-464C-8162-433D9ED0A09D}" srcOrd="1" destOrd="0" presId="urn:microsoft.com/office/officeart/2005/8/layout/list1"/>
    <dgm:cxn modelId="{F1581DD0-9B02-4A6E-B71D-4F0660C653F8}" srcId="{D13AC924-E3D5-40E8-8944-6C9F55445088}" destId="{0EF43A00-9D5E-4F55-A0FF-DAAFCF372E58}" srcOrd="3" destOrd="0" parTransId="{48BD43F9-E342-4BFB-BD79-B78DE3AC0791}" sibTransId="{F2D4E809-5F42-4267-AFF9-70CC05B3A2AE}"/>
    <dgm:cxn modelId="{DD9FD4D2-BE0E-4580-B4FC-E20820F16D97}" type="presOf" srcId="{238BA100-437B-4C4F-B613-D166DA0E3C9E}" destId="{BEDA058B-DA67-4933-930D-46F3651CD804}" srcOrd="0" destOrd="0" presId="urn:microsoft.com/office/officeart/2005/8/layout/list1"/>
    <dgm:cxn modelId="{837AD3D6-65A0-4207-AD9C-91DBBCA7D753}" type="presOf" srcId="{ACFB6851-FB50-4503-ADEC-2536E3B3CB0B}" destId="{B3BFA35F-4CB5-4790-B502-04C5008CAE02}" srcOrd="1" destOrd="0" presId="urn:microsoft.com/office/officeart/2005/8/layout/list1"/>
    <dgm:cxn modelId="{925CE983-8FBC-456E-8D90-3C8844036B04}" type="presParOf" srcId="{03EC2DB8-DE7C-48E2-BAC3-F9F83233710D}" destId="{2A0D30DF-C413-4381-B2D2-AAEF47A8EC26}" srcOrd="0" destOrd="0" presId="urn:microsoft.com/office/officeart/2005/8/layout/list1"/>
    <dgm:cxn modelId="{9B9AA27C-B105-4421-B97A-1F88A001E3B0}" type="presParOf" srcId="{2A0D30DF-C413-4381-B2D2-AAEF47A8EC26}" destId="{E1471DAD-C738-4FC4-8B60-438CE46C398E}" srcOrd="0" destOrd="0" presId="urn:microsoft.com/office/officeart/2005/8/layout/list1"/>
    <dgm:cxn modelId="{CFC3D4A1-527A-4836-98E8-F275A4F7C4EC}" type="presParOf" srcId="{2A0D30DF-C413-4381-B2D2-AAEF47A8EC26}" destId="{B3BFA35F-4CB5-4790-B502-04C5008CAE02}" srcOrd="1" destOrd="0" presId="urn:microsoft.com/office/officeart/2005/8/layout/list1"/>
    <dgm:cxn modelId="{B3AC994B-3F78-4060-B458-A6A0B8614832}" type="presParOf" srcId="{03EC2DB8-DE7C-48E2-BAC3-F9F83233710D}" destId="{58E0E966-40E5-40BB-9170-810FB52D38A7}" srcOrd="1" destOrd="0" presId="urn:microsoft.com/office/officeart/2005/8/layout/list1"/>
    <dgm:cxn modelId="{E4B95818-DF98-4499-908D-EA890B5FF297}" type="presParOf" srcId="{03EC2DB8-DE7C-48E2-BAC3-F9F83233710D}" destId="{A4894B67-8DD9-457C-BA8C-0EEBDA830A2C}" srcOrd="2" destOrd="0" presId="urn:microsoft.com/office/officeart/2005/8/layout/list1"/>
    <dgm:cxn modelId="{C8BD4513-1E32-4253-8AFC-BD3B7AB14E46}" type="presParOf" srcId="{03EC2DB8-DE7C-48E2-BAC3-F9F83233710D}" destId="{6385D07C-FB1F-41B9-AE0D-688F69750D4D}" srcOrd="3" destOrd="0" presId="urn:microsoft.com/office/officeart/2005/8/layout/list1"/>
    <dgm:cxn modelId="{4BFC911B-52F7-40C3-BE4A-3ECEFC01EF14}" type="presParOf" srcId="{03EC2DB8-DE7C-48E2-BAC3-F9F83233710D}" destId="{A2EA9FC5-0E67-4E26-94CF-6AD1DD56A028}" srcOrd="4" destOrd="0" presId="urn:microsoft.com/office/officeart/2005/8/layout/list1"/>
    <dgm:cxn modelId="{9C42FC8C-CD6E-4226-A001-E2A4E3E1161C}" type="presParOf" srcId="{A2EA9FC5-0E67-4E26-94CF-6AD1DD56A028}" destId="{2E43C2F4-F00E-48CA-A989-1633CEBCE644}" srcOrd="0" destOrd="0" presId="urn:microsoft.com/office/officeart/2005/8/layout/list1"/>
    <dgm:cxn modelId="{67B8DA98-45E0-451E-BDB0-DC95DE6DB364}" type="presParOf" srcId="{A2EA9FC5-0E67-4E26-94CF-6AD1DD56A028}" destId="{D0497B70-208F-4B97-89FA-E332C9C0A683}" srcOrd="1" destOrd="0" presId="urn:microsoft.com/office/officeart/2005/8/layout/list1"/>
    <dgm:cxn modelId="{BA1EBC1A-EA0C-4D69-A786-A5E7D1AB7CF2}" type="presParOf" srcId="{03EC2DB8-DE7C-48E2-BAC3-F9F83233710D}" destId="{2295FC7D-E544-4D37-9208-E78DFE68B5BD}" srcOrd="5" destOrd="0" presId="urn:microsoft.com/office/officeart/2005/8/layout/list1"/>
    <dgm:cxn modelId="{8ABAEB22-6345-4703-A395-B7177B9E4B9E}" type="presParOf" srcId="{03EC2DB8-DE7C-48E2-BAC3-F9F83233710D}" destId="{867050F0-386A-4BD1-AC68-5F196C1662A4}" srcOrd="6" destOrd="0" presId="urn:microsoft.com/office/officeart/2005/8/layout/list1"/>
    <dgm:cxn modelId="{77547D63-179F-4801-93ED-86701333DE11}" type="presParOf" srcId="{03EC2DB8-DE7C-48E2-BAC3-F9F83233710D}" destId="{7D5BFA04-0E00-4D3C-917E-C9E3F80230C1}" srcOrd="7" destOrd="0" presId="urn:microsoft.com/office/officeart/2005/8/layout/list1"/>
    <dgm:cxn modelId="{F2704ED8-D997-45E0-BAF5-03A65ED8D150}" type="presParOf" srcId="{03EC2DB8-DE7C-48E2-BAC3-F9F83233710D}" destId="{7BBC0417-872E-4802-AEA7-F97E6672E18B}" srcOrd="8" destOrd="0" presId="urn:microsoft.com/office/officeart/2005/8/layout/list1"/>
    <dgm:cxn modelId="{F02655BB-56DF-4C3A-8FBB-2B61215AB75D}" type="presParOf" srcId="{7BBC0417-872E-4802-AEA7-F97E6672E18B}" destId="{6BAB48B1-BCF2-4ABB-97CE-3850480245B7}" srcOrd="0" destOrd="0" presId="urn:microsoft.com/office/officeart/2005/8/layout/list1"/>
    <dgm:cxn modelId="{D215D7A4-1A3D-45C2-97E8-A9E717952DD2}" type="presParOf" srcId="{7BBC0417-872E-4802-AEA7-F97E6672E18B}" destId="{981F7EAC-7706-4E69-B49A-092F12FB6BB9}" srcOrd="1" destOrd="0" presId="urn:microsoft.com/office/officeart/2005/8/layout/list1"/>
    <dgm:cxn modelId="{D228E627-2F00-416E-ADA7-152F1CB3D961}" type="presParOf" srcId="{03EC2DB8-DE7C-48E2-BAC3-F9F83233710D}" destId="{8FAD6F7A-AE1F-4618-BED8-0578CA3F6063}" srcOrd="9" destOrd="0" presId="urn:microsoft.com/office/officeart/2005/8/layout/list1"/>
    <dgm:cxn modelId="{26054F4D-07A8-4196-A60E-01C9B460CE48}" type="presParOf" srcId="{03EC2DB8-DE7C-48E2-BAC3-F9F83233710D}" destId="{9A17E1F4-1828-414C-9D67-A8E9583DDE9B}" srcOrd="10" destOrd="0" presId="urn:microsoft.com/office/officeart/2005/8/layout/list1"/>
    <dgm:cxn modelId="{5EC7F9BA-AE4A-4A4D-9D84-AFE0DB3E2453}" type="presParOf" srcId="{03EC2DB8-DE7C-48E2-BAC3-F9F83233710D}" destId="{0B4677DA-776B-4B33-8EA8-7473CB874161}" srcOrd="11" destOrd="0" presId="urn:microsoft.com/office/officeart/2005/8/layout/list1"/>
    <dgm:cxn modelId="{8D302E81-B87B-4124-85C4-3FC0C485548B}" type="presParOf" srcId="{03EC2DB8-DE7C-48E2-BAC3-F9F83233710D}" destId="{17250116-9213-499B-9375-7BC98854BEE4}" srcOrd="12" destOrd="0" presId="urn:microsoft.com/office/officeart/2005/8/layout/list1"/>
    <dgm:cxn modelId="{8CA94EDB-A3DA-43F2-A9D5-0570360BE4B4}" type="presParOf" srcId="{17250116-9213-499B-9375-7BC98854BEE4}" destId="{2F827FC7-9DFD-4C8A-81F1-5CEBD860E797}" srcOrd="0" destOrd="0" presId="urn:microsoft.com/office/officeart/2005/8/layout/list1"/>
    <dgm:cxn modelId="{8FEB2FF3-6931-4456-B35D-BD75DDFD2440}" type="presParOf" srcId="{17250116-9213-499B-9375-7BC98854BEE4}" destId="{0B582544-F55A-4D33-A2C8-EFC6E387D556}" srcOrd="1" destOrd="0" presId="urn:microsoft.com/office/officeart/2005/8/layout/list1"/>
    <dgm:cxn modelId="{16CD6028-C919-465F-9029-7E50E13DB3EE}" type="presParOf" srcId="{03EC2DB8-DE7C-48E2-BAC3-F9F83233710D}" destId="{0022A2B8-79E7-41E4-8639-60DACE08F563}" srcOrd="13" destOrd="0" presId="urn:microsoft.com/office/officeart/2005/8/layout/list1"/>
    <dgm:cxn modelId="{D5F732E2-2227-4E03-ADCF-F0B72578AFB2}" type="presParOf" srcId="{03EC2DB8-DE7C-48E2-BAC3-F9F83233710D}" destId="{446B128C-400B-4666-8807-1E8D9561EC20}" srcOrd="14" destOrd="0" presId="urn:microsoft.com/office/officeart/2005/8/layout/list1"/>
    <dgm:cxn modelId="{E6EF7DB5-F7CE-4EC3-BF2A-8AD36DA73855}" type="presParOf" srcId="{03EC2DB8-DE7C-48E2-BAC3-F9F83233710D}" destId="{D6CE62D9-C212-47A4-89D9-DF0982B2F3DC}" srcOrd="15" destOrd="0" presId="urn:microsoft.com/office/officeart/2005/8/layout/list1"/>
    <dgm:cxn modelId="{0D592C3F-E43D-426D-B2C0-C7C706241660}" type="presParOf" srcId="{03EC2DB8-DE7C-48E2-BAC3-F9F83233710D}" destId="{729A0264-C55E-4DAE-B3F0-26AD00BA8496}" srcOrd="16" destOrd="0" presId="urn:microsoft.com/office/officeart/2005/8/layout/list1"/>
    <dgm:cxn modelId="{4091E8C5-B2B7-4956-BB7F-15DE7A4271B3}" type="presParOf" srcId="{729A0264-C55E-4DAE-B3F0-26AD00BA8496}" destId="{9A9AD05B-7395-45B3-931C-2FCAD212B438}" srcOrd="0" destOrd="0" presId="urn:microsoft.com/office/officeart/2005/8/layout/list1"/>
    <dgm:cxn modelId="{BC856B71-F208-4DF9-BEB8-6816B6B20740}" type="presParOf" srcId="{729A0264-C55E-4DAE-B3F0-26AD00BA8496}" destId="{6943AF6C-0F1D-464C-8162-433D9ED0A09D}" srcOrd="1" destOrd="0" presId="urn:microsoft.com/office/officeart/2005/8/layout/list1"/>
    <dgm:cxn modelId="{E2EC4BBD-080C-4DCF-97C9-47CF6CD5F9AA}" type="presParOf" srcId="{03EC2DB8-DE7C-48E2-BAC3-F9F83233710D}" destId="{440308E4-8886-4DF4-8178-D468DD0889EA}" srcOrd="17" destOrd="0" presId="urn:microsoft.com/office/officeart/2005/8/layout/list1"/>
    <dgm:cxn modelId="{E41CDFD6-319D-4FCD-A336-7E833DC28D13}" type="presParOf" srcId="{03EC2DB8-DE7C-48E2-BAC3-F9F83233710D}" destId="{5A24C0A1-172F-4EE5-88FD-D1A4DAB9F0B6}" srcOrd="18" destOrd="0" presId="urn:microsoft.com/office/officeart/2005/8/layout/list1"/>
    <dgm:cxn modelId="{38BE2D87-D6B4-49E6-8AA3-43B09226ABFF}" type="presParOf" srcId="{03EC2DB8-DE7C-48E2-BAC3-F9F83233710D}" destId="{1395F56E-A8E7-47D8-B3D6-93740E0E2B83}" srcOrd="19" destOrd="0" presId="urn:microsoft.com/office/officeart/2005/8/layout/list1"/>
    <dgm:cxn modelId="{401C98FE-192A-4E25-941B-84711248D644}" type="presParOf" srcId="{03EC2DB8-DE7C-48E2-BAC3-F9F83233710D}" destId="{A392D01F-E7F1-47DF-95DB-CE958DFE7FB4}" srcOrd="20" destOrd="0" presId="urn:microsoft.com/office/officeart/2005/8/layout/list1"/>
    <dgm:cxn modelId="{7903E644-EEBA-49F6-8BC1-BB4687CD0F7F}" type="presParOf" srcId="{A392D01F-E7F1-47DF-95DB-CE958DFE7FB4}" destId="{BEDA058B-DA67-4933-930D-46F3651CD804}" srcOrd="0" destOrd="0" presId="urn:microsoft.com/office/officeart/2005/8/layout/list1"/>
    <dgm:cxn modelId="{F55148A3-1EE9-4A9B-8E5A-02B1152C8396}" type="presParOf" srcId="{A392D01F-E7F1-47DF-95DB-CE958DFE7FB4}" destId="{0407FA9D-D2E3-42BF-BB30-8E0DA3EAABF3}" srcOrd="1" destOrd="0" presId="urn:microsoft.com/office/officeart/2005/8/layout/list1"/>
    <dgm:cxn modelId="{CD475E04-9DF1-4C83-A381-58D5149A55EB}" type="presParOf" srcId="{03EC2DB8-DE7C-48E2-BAC3-F9F83233710D}" destId="{8AAB8E62-74CE-4C75-9AA6-52B804C68166}" srcOrd="21" destOrd="0" presId="urn:microsoft.com/office/officeart/2005/8/layout/list1"/>
    <dgm:cxn modelId="{28ED2A95-2F96-4487-9303-1B3D2301F006}" type="presParOf" srcId="{03EC2DB8-DE7C-48E2-BAC3-F9F83233710D}" destId="{A2617942-36EC-41CA-AFC3-0F9B632985A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FDD5202-B7D4-4BD7-83E8-5171C44716C5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3A034D57-B9CD-4502-978C-93EE1729028C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Detailed Record</a:t>
          </a:r>
        </a:p>
      </dgm:t>
    </dgm:pt>
    <dgm:pt modelId="{BA97FD00-393C-4354-9660-2515FD449AE0}" type="parTrans" cxnId="{83058AFD-3020-4281-8FE0-774683C8F75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9A307C6-96DD-48D3-B753-3DEAA15AF2C6}" type="sibTrans" cxnId="{83058AFD-3020-4281-8FE0-774683C8F75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A7F14EB-5001-4453-BE01-6E9E59FC13B5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Data, Time, Purpose, Action</a:t>
          </a:r>
        </a:p>
      </dgm:t>
    </dgm:pt>
    <dgm:pt modelId="{D8ECDC77-F5CC-496B-8A53-7247E4066919}" type="parTrans" cxnId="{41F50529-338A-4A4A-A802-FEAC8FBBE40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B7BAE3AE-E737-49BF-A151-A1A8A01F97BE}" type="sibTrans" cxnId="{41F50529-338A-4A4A-A802-FEAC8FBBE40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941BB532-BC94-4DD6-BFA0-CC154299B641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Digital Log</a:t>
          </a:r>
        </a:p>
      </dgm:t>
    </dgm:pt>
    <dgm:pt modelId="{FB9450F7-89DD-4A28-8549-9F0FDAA0F096}" type="parTrans" cxnId="{7BD67299-3373-4B51-9795-4F4CA00B1C0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B2711F58-9616-43F4-B7EB-2A59AE2C2A79}" type="sibTrans" cxnId="{7BD67299-3373-4B51-9795-4F4CA00B1C0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735EFCA-D316-4071-8DAB-B5FED4F8D22D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No Alteration of Evidence</a:t>
          </a:r>
        </a:p>
      </dgm:t>
    </dgm:pt>
    <dgm:pt modelId="{4A1326F2-0208-4E95-A0EB-BEB91447BC1E}" type="parTrans" cxnId="{A440B741-C224-4E17-BCFA-8165E5AFCCC2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B134593-B65E-4035-91A8-624561482696}" type="sibTrans" cxnId="{A440B741-C224-4E17-BCFA-8165E5AFCCC2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7E4A678-FA9B-4187-B9BB-C1A1B51E2CFD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Forensic Tools</a:t>
          </a:r>
        </a:p>
      </dgm:t>
    </dgm:pt>
    <dgm:pt modelId="{481F23F7-74B4-4C8F-816E-58127ADEFE9B}" type="parTrans" cxnId="{26E7AD06-A3E1-40CF-A84F-235CD054F6BD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0400397-5A95-4144-A547-77F3C3EFD8E0}" type="sibTrans" cxnId="{26E7AD06-A3E1-40CF-A84F-235CD054F6BD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15790B2-A80C-45F3-9B50-5974043525B0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Secure Location</a:t>
          </a:r>
        </a:p>
      </dgm:t>
    </dgm:pt>
    <dgm:pt modelId="{2F9E200C-10D4-4C46-A13E-4C25BA5A7A54}" type="parTrans" cxnId="{A0A147E2-12E4-433D-A8F1-3552E63BC9F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79237C1-6C22-4709-B0B2-BE47137108AE}" type="sibTrans" cxnId="{A0A147E2-12E4-433D-A8F1-3552E63BC9F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7F6B032-8C8A-4C47-B1FA-C58070719FAF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Write Blockers</a:t>
          </a:r>
        </a:p>
      </dgm:t>
    </dgm:pt>
    <dgm:pt modelId="{E0B2EF41-C47D-4CBE-A28C-6BBF1BC89561}" type="parTrans" cxnId="{D6345CCC-351C-4FA8-81DE-6FEF5BBA8B3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F309F8A8-7BC5-460D-AAA4-09757C695D55}" type="sibTrans" cxnId="{D6345CCC-351C-4FA8-81DE-6FEF5BBA8B3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6B8402A-2C64-475D-BAA7-3B1AF4A7BC64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Documents</a:t>
          </a:r>
        </a:p>
      </dgm:t>
    </dgm:pt>
    <dgm:pt modelId="{D09BCF71-D8B6-4CF0-8625-FECC9DDC77B0}" type="parTrans" cxnId="{2E7704B9-AD6C-4DA8-8729-EE61431187F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9D8F7DC-97AA-43F5-B0F5-495CFFF327D6}" type="sibTrans" cxnId="{2E7704B9-AD6C-4DA8-8729-EE61431187F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6D1B4B3-E8EA-4C41-A3AC-000AF1F311BC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Anti-Static Bags</a:t>
          </a:r>
        </a:p>
      </dgm:t>
    </dgm:pt>
    <dgm:pt modelId="{5A3803F2-F9FA-4F6A-B379-394CA0950CD3}" type="parTrans" cxnId="{6F47AB58-757E-4B55-8EB5-CCF8F538D42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AD09042-32CF-4296-A6E7-5186AAE41F6A}" type="sibTrans" cxnId="{6F47AB58-757E-4B55-8EB5-CCF8F538D42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F8D932B-DB91-469E-9B32-09580D5D4856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Authorized Individuals</a:t>
          </a:r>
        </a:p>
      </dgm:t>
    </dgm:pt>
    <dgm:pt modelId="{84EB808F-30A3-4351-9066-EB233E2EA68C}" type="parTrans" cxnId="{8C8CA165-BE48-45A1-A287-3DABB9B4533F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A6C2A76D-6AE9-4AD2-8140-DCAABB7616CF}" type="sibTrans" cxnId="{8C8CA165-BE48-45A1-A287-3DABB9B4533F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A9CB91C-D8E4-4256-82A8-B97CAE240C54}" type="pres">
      <dgm:prSet presAssocID="{9FDD5202-B7D4-4BD7-83E8-5171C44716C5}" presName="diagram" presStyleCnt="0">
        <dgm:presLayoutVars>
          <dgm:dir/>
          <dgm:resizeHandles val="exact"/>
        </dgm:presLayoutVars>
      </dgm:prSet>
      <dgm:spPr/>
    </dgm:pt>
    <dgm:pt modelId="{F874A1A5-6E40-4829-90A0-834A4D88F8EB}" type="pres">
      <dgm:prSet presAssocID="{3A034D57-B9CD-4502-978C-93EE1729028C}" presName="node" presStyleLbl="node1" presStyleIdx="0" presStyleCnt="10">
        <dgm:presLayoutVars>
          <dgm:bulletEnabled val="1"/>
        </dgm:presLayoutVars>
      </dgm:prSet>
      <dgm:spPr/>
    </dgm:pt>
    <dgm:pt modelId="{48B8110F-DA85-4F08-A4C3-672260F142AF}" type="pres">
      <dgm:prSet presAssocID="{09A307C6-96DD-48D3-B753-3DEAA15AF2C6}" presName="sibTrans" presStyleCnt="0"/>
      <dgm:spPr/>
    </dgm:pt>
    <dgm:pt modelId="{E5C72E74-3048-44CD-B707-FD2EE6E2F5C8}" type="pres">
      <dgm:prSet presAssocID="{8A7F14EB-5001-4453-BE01-6E9E59FC13B5}" presName="node" presStyleLbl="node1" presStyleIdx="1" presStyleCnt="10">
        <dgm:presLayoutVars>
          <dgm:bulletEnabled val="1"/>
        </dgm:presLayoutVars>
      </dgm:prSet>
      <dgm:spPr/>
    </dgm:pt>
    <dgm:pt modelId="{4B713E83-5372-4C69-98ED-91B288F679D3}" type="pres">
      <dgm:prSet presAssocID="{B7BAE3AE-E737-49BF-A151-A1A8A01F97BE}" presName="sibTrans" presStyleCnt="0"/>
      <dgm:spPr/>
    </dgm:pt>
    <dgm:pt modelId="{5C697E60-6B33-4A76-A17C-F42AA1683517}" type="pres">
      <dgm:prSet presAssocID="{941BB532-BC94-4DD6-BFA0-CC154299B641}" presName="node" presStyleLbl="node1" presStyleIdx="2" presStyleCnt="10">
        <dgm:presLayoutVars>
          <dgm:bulletEnabled val="1"/>
        </dgm:presLayoutVars>
      </dgm:prSet>
      <dgm:spPr/>
    </dgm:pt>
    <dgm:pt modelId="{EC137BDB-D16F-480B-8652-2ECBE15B7B79}" type="pres">
      <dgm:prSet presAssocID="{B2711F58-9616-43F4-B7EB-2A59AE2C2A79}" presName="sibTrans" presStyleCnt="0"/>
      <dgm:spPr/>
    </dgm:pt>
    <dgm:pt modelId="{D2DE0E35-EAE2-4728-81C0-DF40F0564804}" type="pres">
      <dgm:prSet presAssocID="{4735EFCA-D316-4071-8DAB-B5FED4F8D22D}" presName="node" presStyleLbl="node1" presStyleIdx="3" presStyleCnt="10">
        <dgm:presLayoutVars>
          <dgm:bulletEnabled val="1"/>
        </dgm:presLayoutVars>
      </dgm:prSet>
      <dgm:spPr/>
    </dgm:pt>
    <dgm:pt modelId="{03C1E2BD-2861-4D8C-A557-0F8189EC449E}" type="pres">
      <dgm:prSet presAssocID="{4B134593-B65E-4035-91A8-624561482696}" presName="sibTrans" presStyleCnt="0"/>
      <dgm:spPr/>
    </dgm:pt>
    <dgm:pt modelId="{C6341B0D-F4E2-4E6A-91BC-EB5DE1E12549}" type="pres">
      <dgm:prSet presAssocID="{D7E4A678-FA9B-4187-B9BB-C1A1B51E2CFD}" presName="node" presStyleLbl="node1" presStyleIdx="4" presStyleCnt="10">
        <dgm:presLayoutVars>
          <dgm:bulletEnabled val="1"/>
        </dgm:presLayoutVars>
      </dgm:prSet>
      <dgm:spPr/>
    </dgm:pt>
    <dgm:pt modelId="{4707BDD8-79F2-4FCA-9111-7D45FA522243}" type="pres">
      <dgm:prSet presAssocID="{80400397-5A95-4144-A547-77F3C3EFD8E0}" presName="sibTrans" presStyleCnt="0"/>
      <dgm:spPr/>
    </dgm:pt>
    <dgm:pt modelId="{D7C3E8FF-0CC1-493E-A550-B68EAB1E5F47}" type="pres">
      <dgm:prSet presAssocID="{D15790B2-A80C-45F3-9B50-5974043525B0}" presName="node" presStyleLbl="node1" presStyleIdx="5" presStyleCnt="10">
        <dgm:presLayoutVars>
          <dgm:bulletEnabled val="1"/>
        </dgm:presLayoutVars>
      </dgm:prSet>
      <dgm:spPr/>
    </dgm:pt>
    <dgm:pt modelId="{492511D3-E444-4B59-99AB-2467D5E851F6}" type="pres">
      <dgm:prSet presAssocID="{D79237C1-6C22-4709-B0B2-BE47137108AE}" presName="sibTrans" presStyleCnt="0"/>
      <dgm:spPr/>
    </dgm:pt>
    <dgm:pt modelId="{24AEA7F9-9293-4437-B49E-79BFDE02FFBF}" type="pres">
      <dgm:prSet presAssocID="{D7F6B032-8C8A-4C47-B1FA-C58070719FAF}" presName="node" presStyleLbl="node1" presStyleIdx="6" presStyleCnt="10">
        <dgm:presLayoutVars>
          <dgm:bulletEnabled val="1"/>
        </dgm:presLayoutVars>
      </dgm:prSet>
      <dgm:spPr/>
    </dgm:pt>
    <dgm:pt modelId="{F3980C28-73C2-41ED-A184-37F457516678}" type="pres">
      <dgm:prSet presAssocID="{F309F8A8-7BC5-460D-AAA4-09757C695D55}" presName="sibTrans" presStyleCnt="0"/>
      <dgm:spPr/>
    </dgm:pt>
    <dgm:pt modelId="{0A8DA641-623A-453B-BFBE-10AC975833E9}" type="pres">
      <dgm:prSet presAssocID="{C6B8402A-2C64-475D-BAA7-3B1AF4A7BC64}" presName="node" presStyleLbl="node1" presStyleIdx="7" presStyleCnt="10">
        <dgm:presLayoutVars>
          <dgm:bulletEnabled val="1"/>
        </dgm:presLayoutVars>
      </dgm:prSet>
      <dgm:spPr/>
    </dgm:pt>
    <dgm:pt modelId="{55001DB7-703C-41E8-81C8-E70CE4636A39}" type="pres">
      <dgm:prSet presAssocID="{19D8F7DC-97AA-43F5-B0F5-495CFFF327D6}" presName="sibTrans" presStyleCnt="0"/>
      <dgm:spPr/>
    </dgm:pt>
    <dgm:pt modelId="{FDD7F0CF-F7C9-4EA9-90EB-B0B97051BCDC}" type="pres">
      <dgm:prSet presAssocID="{C6D1B4B3-E8EA-4C41-A3AC-000AF1F311BC}" presName="node" presStyleLbl="node1" presStyleIdx="8" presStyleCnt="10">
        <dgm:presLayoutVars>
          <dgm:bulletEnabled val="1"/>
        </dgm:presLayoutVars>
      </dgm:prSet>
      <dgm:spPr/>
    </dgm:pt>
    <dgm:pt modelId="{7699B50D-0D6B-42E8-8751-EF9E9F4B77E7}" type="pres">
      <dgm:prSet presAssocID="{DAD09042-32CF-4296-A6E7-5186AAE41F6A}" presName="sibTrans" presStyleCnt="0"/>
      <dgm:spPr/>
    </dgm:pt>
    <dgm:pt modelId="{D742A440-4FC6-45C5-90B8-BF455743EBE7}" type="pres">
      <dgm:prSet presAssocID="{EF8D932B-DB91-469E-9B32-09580D5D4856}" presName="node" presStyleLbl="node1" presStyleIdx="9" presStyleCnt="10">
        <dgm:presLayoutVars>
          <dgm:bulletEnabled val="1"/>
        </dgm:presLayoutVars>
      </dgm:prSet>
      <dgm:spPr/>
    </dgm:pt>
  </dgm:ptLst>
  <dgm:cxnLst>
    <dgm:cxn modelId="{26E7AD06-A3E1-40CF-A84F-235CD054F6BD}" srcId="{9FDD5202-B7D4-4BD7-83E8-5171C44716C5}" destId="{D7E4A678-FA9B-4187-B9BB-C1A1B51E2CFD}" srcOrd="4" destOrd="0" parTransId="{481F23F7-74B4-4C8F-816E-58127ADEFE9B}" sibTransId="{80400397-5A95-4144-A547-77F3C3EFD8E0}"/>
    <dgm:cxn modelId="{6726FC0D-1BD3-4844-B6AA-98052C4C1142}" type="presOf" srcId="{EF8D932B-DB91-469E-9B32-09580D5D4856}" destId="{D742A440-4FC6-45C5-90B8-BF455743EBE7}" srcOrd="0" destOrd="0" presId="urn:microsoft.com/office/officeart/2005/8/layout/default"/>
    <dgm:cxn modelId="{41F50529-338A-4A4A-A802-FEAC8FBBE403}" srcId="{9FDD5202-B7D4-4BD7-83E8-5171C44716C5}" destId="{8A7F14EB-5001-4453-BE01-6E9E59FC13B5}" srcOrd="1" destOrd="0" parTransId="{D8ECDC77-F5CC-496B-8A53-7247E4066919}" sibTransId="{B7BAE3AE-E737-49BF-A151-A1A8A01F97BE}"/>
    <dgm:cxn modelId="{58C4042D-31AE-4F8B-9D94-B5550B069523}" type="presOf" srcId="{941BB532-BC94-4DD6-BFA0-CC154299B641}" destId="{5C697E60-6B33-4A76-A17C-F42AA1683517}" srcOrd="0" destOrd="0" presId="urn:microsoft.com/office/officeart/2005/8/layout/default"/>
    <dgm:cxn modelId="{A440B741-C224-4E17-BCFA-8165E5AFCCC2}" srcId="{9FDD5202-B7D4-4BD7-83E8-5171C44716C5}" destId="{4735EFCA-D316-4071-8DAB-B5FED4F8D22D}" srcOrd="3" destOrd="0" parTransId="{4A1326F2-0208-4E95-A0EB-BEB91447BC1E}" sibTransId="{4B134593-B65E-4035-91A8-624561482696}"/>
    <dgm:cxn modelId="{8C8CA165-BE48-45A1-A287-3DABB9B4533F}" srcId="{9FDD5202-B7D4-4BD7-83E8-5171C44716C5}" destId="{EF8D932B-DB91-469E-9B32-09580D5D4856}" srcOrd="9" destOrd="0" parTransId="{84EB808F-30A3-4351-9066-EB233E2EA68C}" sibTransId="{A6C2A76D-6AE9-4AD2-8140-DCAABB7616CF}"/>
    <dgm:cxn modelId="{F88D6074-921B-493A-ADEA-CFDF42EFCB7A}" type="presOf" srcId="{C6D1B4B3-E8EA-4C41-A3AC-000AF1F311BC}" destId="{FDD7F0CF-F7C9-4EA9-90EB-B0B97051BCDC}" srcOrd="0" destOrd="0" presId="urn:microsoft.com/office/officeart/2005/8/layout/default"/>
    <dgm:cxn modelId="{C70B0277-C4E6-4F61-AF85-085396FDA2E6}" type="presOf" srcId="{C6B8402A-2C64-475D-BAA7-3B1AF4A7BC64}" destId="{0A8DA641-623A-453B-BFBE-10AC975833E9}" srcOrd="0" destOrd="0" presId="urn:microsoft.com/office/officeart/2005/8/layout/default"/>
    <dgm:cxn modelId="{6F47AB58-757E-4B55-8EB5-CCF8F538D429}" srcId="{9FDD5202-B7D4-4BD7-83E8-5171C44716C5}" destId="{C6D1B4B3-E8EA-4C41-A3AC-000AF1F311BC}" srcOrd="8" destOrd="0" parTransId="{5A3803F2-F9FA-4F6A-B379-394CA0950CD3}" sibTransId="{DAD09042-32CF-4296-A6E7-5186AAE41F6A}"/>
    <dgm:cxn modelId="{C145025A-C0A6-4DAE-A660-9962AB2C560D}" type="presOf" srcId="{D15790B2-A80C-45F3-9B50-5974043525B0}" destId="{D7C3E8FF-0CC1-493E-A550-B68EAB1E5F47}" srcOrd="0" destOrd="0" presId="urn:microsoft.com/office/officeart/2005/8/layout/default"/>
    <dgm:cxn modelId="{7BD67299-3373-4B51-9795-4F4CA00B1C05}" srcId="{9FDD5202-B7D4-4BD7-83E8-5171C44716C5}" destId="{941BB532-BC94-4DD6-BFA0-CC154299B641}" srcOrd="2" destOrd="0" parTransId="{FB9450F7-89DD-4A28-8549-9F0FDAA0F096}" sibTransId="{B2711F58-9616-43F4-B7EB-2A59AE2C2A79}"/>
    <dgm:cxn modelId="{37669AA5-40BE-4408-8C8E-CAEF83BD974E}" type="presOf" srcId="{8A7F14EB-5001-4453-BE01-6E9E59FC13B5}" destId="{E5C72E74-3048-44CD-B707-FD2EE6E2F5C8}" srcOrd="0" destOrd="0" presId="urn:microsoft.com/office/officeart/2005/8/layout/default"/>
    <dgm:cxn modelId="{2E7704B9-AD6C-4DA8-8729-EE61431187F9}" srcId="{9FDD5202-B7D4-4BD7-83E8-5171C44716C5}" destId="{C6B8402A-2C64-475D-BAA7-3B1AF4A7BC64}" srcOrd="7" destOrd="0" parTransId="{D09BCF71-D8B6-4CF0-8625-FECC9DDC77B0}" sibTransId="{19D8F7DC-97AA-43F5-B0F5-495CFFF327D6}"/>
    <dgm:cxn modelId="{8DB43DC5-D1FC-49B5-8E66-C3DB183E17B2}" type="presOf" srcId="{9FDD5202-B7D4-4BD7-83E8-5171C44716C5}" destId="{2A9CB91C-D8E4-4256-82A8-B97CAE240C54}" srcOrd="0" destOrd="0" presId="urn:microsoft.com/office/officeart/2005/8/layout/default"/>
    <dgm:cxn modelId="{06887BCB-196E-4DB2-B024-2E6F2A2786B9}" type="presOf" srcId="{D7E4A678-FA9B-4187-B9BB-C1A1B51E2CFD}" destId="{C6341B0D-F4E2-4E6A-91BC-EB5DE1E12549}" srcOrd="0" destOrd="0" presId="urn:microsoft.com/office/officeart/2005/8/layout/default"/>
    <dgm:cxn modelId="{D6345CCC-351C-4FA8-81DE-6FEF5BBA8B37}" srcId="{9FDD5202-B7D4-4BD7-83E8-5171C44716C5}" destId="{D7F6B032-8C8A-4C47-B1FA-C58070719FAF}" srcOrd="6" destOrd="0" parTransId="{E0B2EF41-C47D-4CBE-A28C-6BBF1BC89561}" sibTransId="{F309F8A8-7BC5-460D-AAA4-09757C695D55}"/>
    <dgm:cxn modelId="{C9DF3DDD-BE40-4276-A930-17D27BADAF99}" type="presOf" srcId="{D7F6B032-8C8A-4C47-B1FA-C58070719FAF}" destId="{24AEA7F9-9293-4437-B49E-79BFDE02FFBF}" srcOrd="0" destOrd="0" presId="urn:microsoft.com/office/officeart/2005/8/layout/default"/>
    <dgm:cxn modelId="{09E92DDE-7B77-4A18-8841-9963187FF247}" type="presOf" srcId="{3A034D57-B9CD-4502-978C-93EE1729028C}" destId="{F874A1A5-6E40-4829-90A0-834A4D88F8EB}" srcOrd="0" destOrd="0" presId="urn:microsoft.com/office/officeart/2005/8/layout/default"/>
    <dgm:cxn modelId="{A0A147E2-12E4-433D-A8F1-3552E63BC9F5}" srcId="{9FDD5202-B7D4-4BD7-83E8-5171C44716C5}" destId="{D15790B2-A80C-45F3-9B50-5974043525B0}" srcOrd="5" destOrd="0" parTransId="{2F9E200C-10D4-4C46-A13E-4C25BA5A7A54}" sibTransId="{D79237C1-6C22-4709-B0B2-BE47137108AE}"/>
    <dgm:cxn modelId="{7649CFFA-B5A5-4C45-8642-2A86BD542697}" type="presOf" srcId="{4735EFCA-D316-4071-8DAB-B5FED4F8D22D}" destId="{D2DE0E35-EAE2-4728-81C0-DF40F0564804}" srcOrd="0" destOrd="0" presId="urn:microsoft.com/office/officeart/2005/8/layout/default"/>
    <dgm:cxn modelId="{83058AFD-3020-4281-8FE0-774683C8F75C}" srcId="{9FDD5202-B7D4-4BD7-83E8-5171C44716C5}" destId="{3A034D57-B9CD-4502-978C-93EE1729028C}" srcOrd="0" destOrd="0" parTransId="{BA97FD00-393C-4354-9660-2515FD449AE0}" sibTransId="{09A307C6-96DD-48D3-B753-3DEAA15AF2C6}"/>
    <dgm:cxn modelId="{A78EE589-793E-4601-B331-9314C697AB70}" type="presParOf" srcId="{2A9CB91C-D8E4-4256-82A8-B97CAE240C54}" destId="{F874A1A5-6E40-4829-90A0-834A4D88F8EB}" srcOrd="0" destOrd="0" presId="urn:microsoft.com/office/officeart/2005/8/layout/default"/>
    <dgm:cxn modelId="{D33D13E3-72CB-4377-8395-BEF42D1051AF}" type="presParOf" srcId="{2A9CB91C-D8E4-4256-82A8-B97CAE240C54}" destId="{48B8110F-DA85-4F08-A4C3-672260F142AF}" srcOrd="1" destOrd="0" presId="urn:microsoft.com/office/officeart/2005/8/layout/default"/>
    <dgm:cxn modelId="{492A2E9F-CE13-4120-93B9-146859C10208}" type="presParOf" srcId="{2A9CB91C-D8E4-4256-82A8-B97CAE240C54}" destId="{E5C72E74-3048-44CD-B707-FD2EE6E2F5C8}" srcOrd="2" destOrd="0" presId="urn:microsoft.com/office/officeart/2005/8/layout/default"/>
    <dgm:cxn modelId="{81BB8736-8A4A-4E07-B94C-AFDBA6D44518}" type="presParOf" srcId="{2A9CB91C-D8E4-4256-82A8-B97CAE240C54}" destId="{4B713E83-5372-4C69-98ED-91B288F679D3}" srcOrd="3" destOrd="0" presId="urn:microsoft.com/office/officeart/2005/8/layout/default"/>
    <dgm:cxn modelId="{AF137DFF-9152-433A-B9B2-4E0DA393FF41}" type="presParOf" srcId="{2A9CB91C-D8E4-4256-82A8-B97CAE240C54}" destId="{5C697E60-6B33-4A76-A17C-F42AA1683517}" srcOrd="4" destOrd="0" presId="urn:microsoft.com/office/officeart/2005/8/layout/default"/>
    <dgm:cxn modelId="{B95821B8-A8AC-42CA-8537-C13E1AACA743}" type="presParOf" srcId="{2A9CB91C-D8E4-4256-82A8-B97CAE240C54}" destId="{EC137BDB-D16F-480B-8652-2ECBE15B7B79}" srcOrd="5" destOrd="0" presId="urn:microsoft.com/office/officeart/2005/8/layout/default"/>
    <dgm:cxn modelId="{138CD6E9-EA6C-4090-BF96-108EF3C843B3}" type="presParOf" srcId="{2A9CB91C-D8E4-4256-82A8-B97CAE240C54}" destId="{D2DE0E35-EAE2-4728-81C0-DF40F0564804}" srcOrd="6" destOrd="0" presId="urn:microsoft.com/office/officeart/2005/8/layout/default"/>
    <dgm:cxn modelId="{182B078E-AF55-4FA6-98D8-B73434E45499}" type="presParOf" srcId="{2A9CB91C-D8E4-4256-82A8-B97CAE240C54}" destId="{03C1E2BD-2861-4D8C-A557-0F8189EC449E}" srcOrd="7" destOrd="0" presId="urn:microsoft.com/office/officeart/2005/8/layout/default"/>
    <dgm:cxn modelId="{81564123-64BD-473F-8F5C-3415D2BB92A6}" type="presParOf" srcId="{2A9CB91C-D8E4-4256-82A8-B97CAE240C54}" destId="{C6341B0D-F4E2-4E6A-91BC-EB5DE1E12549}" srcOrd="8" destOrd="0" presId="urn:microsoft.com/office/officeart/2005/8/layout/default"/>
    <dgm:cxn modelId="{AECC355B-5867-481A-AA34-3EF02C194A9E}" type="presParOf" srcId="{2A9CB91C-D8E4-4256-82A8-B97CAE240C54}" destId="{4707BDD8-79F2-4FCA-9111-7D45FA522243}" srcOrd="9" destOrd="0" presId="urn:microsoft.com/office/officeart/2005/8/layout/default"/>
    <dgm:cxn modelId="{A839F55D-0327-40EE-A791-A3845A418EDF}" type="presParOf" srcId="{2A9CB91C-D8E4-4256-82A8-B97CAE240C54}" destId="{D7C3E8FF-0CC1-493E-A550-B68EAB1E5F47}" srcOrd="10" destOrd="0" presId="urn:microsoft.com/office/officeart/2005/8/layout/default"/>
    <dgm:cxn modelId="{1C350C2C-015E-4DF6-A4A5-EC14855E876E}" type="presParOf" srcId="{2A9CB91C-D8E4-4256-82A8-B97CAE240C54}" destId="{492511D3-E444-4B59-99AB-2467D5E851F6}" srcOrd="11" destOrd="0" presId="urn:microsoft.com/office/officeart/2005/8/layout/default"/>
    <dgm:cxn modelId="{B0E88293-4FEF-4599-990C-AA7A20270E5E}" type="presParOf" srcId="{2A9CB91C-D8E4-4256-82A8-B97CAE240C54}" destId="{24AEA7F9-9293-4437-B49E-79BFDE02FFBF}" srcOrd="12" destOrd="0" presId="urn:microsoft.com/office/officeart/2005/8/layout/default"/>
    <dgm:cxn modelId="{664D6DD6-07B3-4AD1-9323-8908501EB5EC}" type="presParOf" srcId="{2A9CB91C-D8E4-4256-82A8-B97CAE240C54}" destId="{F3980C28-73C2-41ED-A184-37F457516678}" srcOrd="13" destOrd="0" presId="urn:microsoft.com/office/officeart/2005/8/layout/default"/>
    <dgm:cxn modelId="{D08DBD43-BFC6-4D59-B3C3-06C715FEB392}" type="presParOf" srcId="{2A9CB91C-D8E4-4256-82A8-B97CAE240C54}" destId="{0A8DA641-623A-453B-BFBE-10AC975833E9}" srcOrd="14" destOrd="0" presId="urn:microsoft.com/office/officeart/2005/8/layout/default"/>
    <dgm:cxn modelId="{C5277FAC-4075-416C-8800-19F981673E50}" type="presParOf" srcId="{2A9CB91C-D8E4-4256-82A8-B97CAE240C54}" destId="{55001DB7-703C-41E8-81C8-E70CE4636A39}" srcOrd="15" destOrd="0" presId="urn:microsoft.com/office/officeart/2005/8/layout/default"/>
    <dgm:cxn modelId="{76BD1B86-7207-4A55-8FB1-5883CE5470F7}" type="presParOf" srcId="{2A9CB91C-D8E4-4256-82A8-B97CAE240C54}" destId="{FDD7F0CF-F7C9-4EA9-90EB-B0B97051BCDC}" srcOrd="16" destOrd="0" presId="urn:microsoft.com/office/officeart/2005/8/layout/default"/>
    <dgm:cxn modelId="{F4E30B30-1A79-4EC4-BB7C-C98D979B80F1}" type="presParOf" srcId="{2A9CB91C-D8E4-4256-82A8-B97CAE240C54}" destId="{7699B50D-0D6B-42E8-8751-EF9E9F4B77E7}" srcOrd="17" destOrd="0" presId="urn:microsoft.com/office/officeart/2005/8/layout/default"/>
    <dgm:cxn modelId="{9E1C031B-AEAC-4A34-903A-60825CA931BB}" type="presParOf" srcId="{2A9CB91C-D8E4-4256-82A8-B97CAE240C54}" destId="{D742A440-4FC6-45C5-90B8-BF455743EBE7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5D481D2-6C5F-45D0-AE38-D8CAB5C28148}" type="doc">
      <dgm:prSet loTypeId="urn:microsoft.com/office/officeart/2005/8/layout/pyramid2" loCatId="list" qsTypeId="urn:microsoft.com/office/officeart/2005/8/quickstyle/3d2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D9DD791-9F27-433C-B36F-4329BA5D56DE}">
      <dgm:prSet phldrT="[Text]"/>
      <dgm:spPr>
        <a:solidFill>
          <a:srgbClr val="7030A0">
            <a:alpha val="90000"/>
          </a:srgbClr>
        </a:solidFill>
      </dgm:spPr>
      <dgm:t>
        <a:bodyPr/>
        <a:lstStyle/>
        <a:p>
          <a:r>
            <a:rPr lang="en-US" b="1" dirty="0"/>
            <a:t>Clear Business Objectives</a:t>
          </a:r>
        </a:p>
      </dgm:t>
    </dgm:pt>
    <dgm:pt modelId="{22D23D48-888C-4CAB-9D9B-A5C81C12B4E4}" type="parTrans" cxnId="{B85864E0-F44D-49DB-9F9A-268AC7E1FA94}">
      <dgm:prSet/>
      <dgm:spPr/>
      <dgm:t>
        <a:bodyPr/>
        <a:lstStyle/>
        <a:p>
          <a:endParaRPr lang="en-US" b="1"/>
        </a:p>
      </dgm:t>
    </dgm:pt>
    <dgm:pt modelId="{EC9E2006-2DFF-48E0-BCCF-679048A1C896}" type="sibTrans" cxnId="{B85864E0-F44D-49DB-9F9A-268AC7E1FA94}">
      <dgm:prSet/>
      <dgm:spPr/>
      <dgm:t>
        <a:bodyPr/>
        <a:lstStyle/>
        <a:p>
          <a:endParaRPr lang="en-US" b="1"/>
        </a:p>
      </dgm:t>
    </dgm:pt>
    <dgm:pt modelId="{61AEDAB5-B19A-458C-8C57-B9ACEECDC23B}">
      <dgm:prSet phldrT="[Text]"/>
      <dgm:spPr>
        <a:solidFill>
          <a:srgbClr val="002060">
            <a:alpha val="90000"/>
          </a:srgbClr>
        </a:solidFill>
      </dgm:spPr>
      <dgm:t>
        <a:bodyPr/>
        <a:lstStyle/>
        <a:p>
          <a:r>
            <a:rPr lang="en-US" b="1" dirty="0"/>
            <a:t>Comprehensive Policy</a:t>
          </a:r>
        </a:p>
      </dgm:t>
    </dgm:pt>
    <dgm:pt modelId="{E775CC95-50FC-479F-ADC9-654593F0D2E7}" type="parTrans" cxnId="{69937EFE-9335-4201-8455-D19C1A3376B1}">
      <dgm:prSet/>
      <dgm:spPr/>
      <dgm:t>
        <a:bodyPr/>
        <a:lstStyle/>
        <a:p>
          <a:endParaRPr lang="en-US" b="1"/>
        </a:p>
      </dgm:t>
    </dgm:pt>
    <dgm:pt modelId="{0A983052-4EB9-4DFD-BEBD-6AF86E5B975F}" type="sibTrans" cxnId="{69937EFE-9335-4201-8455-D19C1A3376B1}">
      <dgm:prSet/>
      <dgm:spPr/>
      <dgm:t>
        <a:bodyPr/>
        <a:lstStyle/>
        <a:p>
          <a:endParaRPr lang="en-US" b="1"/>
        </a:p>
      </dgm:t>
    </dgm:pt>
    <dgm:pt modelId="{C1BB2F78-3123-4C67-A4F5-1604C23AC012}">
      <dgm:prSet phldrT="[Text]"/>
      <dgm:spPr>
        <a:solidFill>
          <a:srgbClr val="0070C0">
            <a:alpha val="90000"/>
          </a:srgbClr>
        </a:solidFill>
      </dgm:spPr>
      <dgm:t>
        <a:bodyPr/>
        <a:lstStyle/>
        <a:p>
          <a:r>
            <a:rPr lang="en-US" b="1" dirty="0"/>
            <a:t>Evidence Collection</a:t>
          </a:r>
        </a:p>
      </dgm:t>
    </dgm:pt>
    <dgm:pt modelId="{89F51DAA-B12A-4C6C-BFDB-FFDDAE3E88C0}" type="parTrans" cxnId="{4C8118EE-DA19-4539-A922-1E2995DE2879}">
      <dgm:prSet/>
      <dgm:spPr/>
      <dgm:t>
        <a:bodyPr/>
        <a:lstStyle/>
        <a:p>
          <a:endParaRPr lang="en-US" b="1"/>
        </a:p>
      </dgm:t>
    </dgm:pt>
    <dgm:pt modelId="{917CE221-B247-46E9-B921-82E143EC772D}" type="sibTrans" cxnId="{4C8118EE-DA19-4539-A922-1E2995DE2879}">
      <dgm:prSet/>
      <dgm:spPr/>
      <dgm:t>
        <a:bodyPr/>
        <a:lstStyle/>
        <a:p>
          <a:endParaRPr lang="en-US" b="1"/>
        </a:p>
      </dgm:t>
    </dgm:pt>
    <dgm:pt modelId="{C11DFA8D-F493-47BA-88B0-C57A388DC810}">
      <dgm:prSet phldrT="[Text]"/>
      <dgm:spPr>
        <a:solidFill>
          <a:srgbClr val="00B0F0">
            <a:alpha val="90000"/>
          </a:srgbClr>
        </a:solidFill>
      </dgm:spPr>
      <dgm:t>
        <a:bodyPr/>
        <a:lstStyle/>
        <a:p>
          <a:r>
            <a:rPr lang="en-US" b="1" dirty="0"/>
            <a:t>Secure Storage</a:t>
          </a:r>
        </a:p>
      </dgm:t>
    </dgm:pt>
    <dgm:pt modelId="{ADE7B2EE-70B2-47F1-AF83-BC26DA071DB9}" type="parTrans" cxnId="{6671EE48-366F-4497-8D4B-0EAFBF7C6ADD}">
      <dgm:prSet/>
      <dgm:spPr/>
      <dgm:t>
        <a:bodyPr/>
        <a:lstStyle/>
        <a:p>
          <a:endParaRPr lang="en-US" b="1"/>
        </a:p>
      </dgm:t>
    </dgm:pt>
    <dgm:pt modelId="{8D076CDB-A1BC-4510-A3DC-BF8E51ECD2E8}" type="sibTrans" cxnId="{6671EE48-366F-4497-8D4B-0EAFBF7C6ADD}">
      <dgm:prSet/>
      <dgm:spPr/>
      <dgm:t>
        <a:bodyPr/>
        <a:lstStyle/>
        <a:p>
          <a:endParaRPr lang="en-US" b="1"/>
        </a:p>
      </dgm:t>
    </dgm:pt>
    <dgm:pt modelId="{F1D133E3-025A-4326-8D6B-43DF89E437F9}">
      <dgm:prSet phldrT="[Text]"/>
      <dgm:spPr>
        <a:solidFill>
          <a:srgbClr val="00B050">
            <a:alpha val="90000"/>
          </a:srgbClr>
        </a:solidFill>
      </dgm:spPr>
      <dgm:t>
        <a:bodyPr/>
        <a:lstStyle/>
        <a:p>
          <a:r>
            <a:rPr lang="en-US" b="1" dirty="0"/>
            <a:t>Chain of Custody</a:t>
          </a:r>
        </a:p>
      </dgm:t>
    </dgm:pt>
    <dgm:pt modelId="{518CC6D6-1CA3-4A78-A77C-273FC5ECF62F}" type="parTrans" cxnId="{77AA24ED-7E51-4FB2-A73C-551B121FE5F6}">
      <dgm:prSet/>
      <dgm:spPr/>
      <dgm:t>
        <a:bodyPr/>
        <a:lstStyle/>
        <a:p>
          <a:endParaRPr lang="en-US" b="1"/>
        </a:p>
      </dgm:t>
    </dgm:pt>
    <dgm:pt modelId="{C1A44074-90DA-478A-9076-B2D98F1897AF}" type="sibTrans" cxnId="{77AA24ED-7E51-4FB2-A73C-551B121FE5F6}">
      <dgm:prSet/>
      <dgm:spPr/>
      <dgm:t>
        <a:bodyPr/>
        <a:lstStyle/>
        <a:p>
          <a:endParaRPr lang="en-US" b="1"/>
        </a:p>
      </dgm:t>
    </dgm:pt>
    <dgm:pt modelId="{ADF0FB1D-B744-4556-8F53-8B6C3865948E}">
      <dgm:prSet phldrT="[Text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en-US" b="1" dirty="0"/>
            <a:t>Regular Audit and Review</a:t>
          </a:r>
        </a:p>
      </dgm:t>
    </dgm:pt>
    <dgm:pt modelId="{6950A2BB-A3AB-47AB-BB9F-479E0301DB75}" type="parTrans" cxnId="{8B2E9352-1A76-4166-9D76-B550880BC3CB}">
      <dgm:prSet/>
      <dgm:spPr/>
      <dgm:t>
        <a:bodyPr/>
        <a:lstStyle/>
        <a:p>
          <a:endParaRPr lang="en-US" b="1"/>
        </a:p>
      </dgm:t>
    </dgm:pt>
    <dgm:pt modelId="{69A5BFC0-80BE-409A-9C88-835CD0EBCE4E}" type="sibTrans" cxnId="{8B2E9352-1A76-4166-9D76-B550880BC3CB}">
      <dgm:prSet/>
      <dgm:spPr/>
      <dgm:t>
        <a:bodyPr/>
        <a:lstStyle/>
        <a:p>
          <a:endParaRPr lang="en-US" b="1"/>
        </a:p>
      </dgm:t>
    </dgm:pt>
    <dgm:pt modelId="{8F7FF635-DF76-4A1E-8CFB-CAB911C0AC03}">
      <dgm:prSet phldrT="[Text]"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b="1" dirty="0"/>
            <a:t>Legal/Regulatory Awareness</a:t>
          </a:r>
        </a:p>
      </dgm:t>
    </dgm:pt>
    <dgm:pt modelId="{6123F611-2DAA-45B4-B590-C7E518A3499B}" type="parTrans" cxnId="{28F23D88-B3B7-47EA-A68D-53D3A3BE4235}">
      <dgm:prSet/>
      <dgm:spPr/>
      <dgm:t>
        <a:bodyPr/>
        <a:lstStyle/>
        <a:p>
          <a:endParaRPr lang="en-US" b="1"/>
        </a:p>
      </dgm:t>
    </dgm:pt>
    <dgm:pt modelId="{041BC364-64D5-40C5-8F30-0FDA1240678C}" type="sibTrans" cxnId="{28F23D88-B3B7-47EA-A68D-53D3A3BE4235}">
      <dgm:prSet/>
      <dgm:spPr/>
      <dgm:t>
        <a:bodyPr/>
        <a:lstStyle/>
        <a:p>
          <a:endParaRPr lang="en-US" b="1"/>
        </a:p>
      </dgm:t>
    </dgm:pt>
    <dgm:pt modelId="{7249CCFC-B5C5-467F-901F-2A29EFD78A20}">
      <dgm:prSet phldrT="[Text]"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en-US" b="1" dirty="0"/>
            <a:t>Incident Response Integration</a:t>
          </a:r>
        </a:p>
      </dgm:t>
    </dgm:pt>
    <dgm:pt modelId="{BFD67D3F-EE76-4DA0-8E55-CB2372E633E2}" type="parTrans" cxnId="{25A42873-CBDA-4A73-8154-E87D5E81992F}">
      <dgm:prSet/>
      <dgm:spPr/>
      <dgm:t>
        <a:bodyPr/>
        <a:lstStyle/>
        <a:p>
          <a:endParaRPr lang="en-US" b="1"/>
        </a:p>
      </dgm:t>
    </dgm:pt>
    <dgm:pt modelId="{0CD8B427-3478-4AFA-B06A-F7BAAC4D45A2}" type="sibTrans" cxnId="{25A42873-CBDA-4A73-8154-E87D5E81992F}">
      <dgm:prSet/>
      <dgm:spPr/>
      <dgm:t>
        <a:bodyPr/>
        <a:lstStyle/>
        <a:p>
          <a:endParaRPr lang="en-US" b="1"/>
        </a:p>
      </dgm:t>
    </dgm:pt>
    <dgm:pt modelId="{3848D9EB-A6A9-4439-AC11-BD9DB398C0DF}" type="pres">
      <dgm:prSet presAssocID="{75D481D2-6C5F-45D0-AE38-D8CAB5C28148}" presName="compositeShape" presStyleCnt="0">
        <dgm:presLayoutVars>
          <dgm:dir/>
          <dgm:resizeHandles/>
        </dgm:presLayoutVars>
      </dgm:prSet>
      <dgm:spPr/>
    </dgm:pt>
    <dgm:pt modelId="{2F55422C-73FA-4EA2-8568-2951D8EE52CF}" type="pres">
      <dgm:prSet presAssocID="{75D481D2-6C5F-45D0-AE38-D8CAB5C28148}" presName="pyramid" presStyleLbl="node1" presStyleIdx="0" presStyleCnt="1"/>
      <dgm:spPr/>
    </dgm:pt>
    <dgm:pt modelId="{58B9D046-9B71-4E62-84DE-02CAF40C8DCD}" type="pres">
      <dgm:prSet presAssocID="{75D481D2-6C5F-45D0-AE38-D8CAB5C28148}" presName="theList" presStyleCnt="0"/>
      <dgm:spPr/>
    </dgm:pt>
    <dgm:pt modelId="{C268B9D8-A01A-4024-9B4E-CC4D82F6BADA}" type="pres">
      <dgm:prSet presAssocID="{5D9DD791-9F27-433C-B36F-4329BA5D56DE}" presName="aNode" presStyleLbl="fgAcc1" presStyleIdx="0" presStyleCnt="8">
        <dgm:presLayoutVars>
          <dgm:bulletEnabled val="1"/>
        </dgm:presLayoutVars>
      </dgm:prSet>
      <dgm:spPr/>
    </dgm:pt>
    <dgm:pt modelId="{3E65D31C-E0AE-48A7-9482-E912905FA51E}" type="pres">
      <dgm:prSet presAssocID="{5D9DD791-9F27-433C-B36F-4329BA5D56DE}" presName="aSpace" presStyleCnt="0"/>
      <dgm:spPr/>
    </dgm:pt>
    <dgm:pt modelId="{EF8641BF-D823-4C46-85A5-C4FDE7368C85}" type="pres">
      <dgm:prSet presAssocID="{61AEDAB5-B19A-458C-8C57-B9ACEECDC23B}" presName="aNode" presStyleLbl="fgAcc1" presStyleIdx="1" presStyleCnt="8">
        <dgm:presLayoutVars>
          <dgm:bulletEnabled val="1"/>
        </dgm:presLayoutVars>
      </dgm:prSet>
      <dgm:spPr/>
    </dgm:pt>
    <dgm:pt modelId="{7C31826E-721E-4C51-8A10-AD8741A9CD5E}" type="pres">
      <dgm:prSet presAssocID="{61AEDAB5-B19A-458C-8C57-B9ACEECDC23B}" presName="aSpace" presStyleCnt="0"/>
      <dgm:spPr/>
    </dgm:pt>
    <dgm:pt modelId="{C48C0657-D6F1-427C-AAF3-CA4CEAFEC3CC}" type="pres">
      <dgm:prSet presAssocID="{C1BB2F78-3123-4C67-A4F5-1604C23AC012}" presName="aNode" presStyleLbl="fgAcc1" presStyleIdx="2" presStyleCnt="8">
        <dgm:presLayoutVars>
          <dgm:bulletEnabled val="1"/>
        </dgm:presLayoutVars>
      </dgm:prSet>
      <dgm:spPr/>
    </dgm:pt>
    <dgm:pt modelId="{5B4ADF09-54F5-41D3-BBFC-E521B545F54B}" type="pres">
      <dgm:prSet presAssocID="{C1BB2F78-3123-4C67-A4F5-1604C23AC012}" presName="aSpace" presStyleCnt="0"/>
      <dgm:spPr/>
    </dgm:pt>
    <dgm:pt modelId="{D5C6CAE1-910D-4D6A-A152-26A2C59C9C0A}" type="pres">
      <dgm:prSet presAssocID="{C11DFA8D-F493-47BA-88B0-C57A388DC810}" presName="aNode" presStyleLbl="fgAcc1" presStyleIdx="3" presStyleCnt="8">
        <dgm:presLayoutVars>
          <dgm:bulletEnabled val="1"/>
        </dgm:presLayoutVars>
      </dgm:prSet>
      <dgm:spPr/>
    </dgm:pt>
    <dgm:pt modelId="{E5B131E9-BEAA-4ADE-88C0-F8931C4E1CDA}" type="pres">
      <dgm:prSet presAssocID="{C11DFA8D-F493-47BA-88B0-C57A388DC810}" presName="aSpace" presStyleCnt="0"/>
      <dgm:spPr/>
    </dgm:pt>
    <dgm:pt modelId="{FF820F3A-D7E7-4D7C-B7FC-D80A1B52E44E}" type="pres">
      <dgm:prSet presAssocID="{F1D133E3-025A-4326-8D6B-43DF89E437F9}" presName="aNode" presStyleLbl="fgAcc1" presStyleIdx="4" presStyleCnt="8">
        <dgm:presLayoutVars>
          <dgm:bulletEnabled val="1"/>
        </dgm:presLayoutVars>
      </dgm:prSet>
      <dgm:spPr/>
    </dgm:pt>
    <dgm:pt modelId="{66CBF873-97DF-4E09-A283-594A2445221E}" type="pres">
      <dgm:prSet presAssocID="{F1D133E3-025A-4326-8D6B-43DF89E437F9}" presName="aSpace" presStyleCnt="0"/>
      <dgm:spPr/>
    </dgm:pt>
    <dgm:pt modelId="{0D872B58-6DA5-4271-95AA-FC6B8721BE13}" type="pres">
      <dgm:prSet presAssocID="{ADF0FB1D-B744-4556-8F53-8B6C3865948E}" presName="aNode" presStyleLbl="fgAcc1" presStyleIdx="5" presStyleCnt="8">
        <dgm:presLayoutVars>
          <dgm:bulletEnabled val="1"/>
        </dgm:presLayoutVars>
      </dgm:prSet>
      <dgm:spPr/>
    </dgm:pt>
    <dgm:pt modelId="{C4DCEFCA-2D54-4B3F-9C74-4E7B05D40519}" type="pres">
      <dgm:prSet presAssocID="{ADF0FB1D-B744-4556-8F53-8B6C3865948E}" presName="aSpace" presStyleCnt="0"/>
      <dgm:spPr/>
    </dgm:pt>
    <dgm:pt modelId="{A7F54210-628B-45F9-86F2-F90C8E99D79D}" type="pres">
      <dgm:prSet presAssocID="{8F7FF635-DF76-4A1E-8CFB-CAB911C0AC03}" presName="aNode" presStyleLbl="fgAcc1" presStyleIdx="6" presStyleCnt="8">
        <dgm:presLayoutVars>
          <dgm:bulletEnabled val="1"/>
        </dgm:presLayoutVars>
      </dgm:prSet>
      <dgm:spPr/>
    </dgm:pt>
    <dgm:pt modelId="{325B3D03-2FE5-4860-AD59-95754049E4EE}" type="pres">
      <dgm:prSet presAssocID="{8F7FF635-DF76-4A1E-8CFB-CAB911C0AC03}" presName="aSpace" presStyleCnt="0"/>
      <dgm:spPr/>
    </dgm:pt>
    <dgm:pt modelId="{6C5930A6-65AD-4F23-96FC-CF68A0CA01DD}" type="pres">
      <dgm:prSet presAssocID="{7249CCFC-B5C5-467F-901F-2A29EFD78A20}" presName="aNode" presStyleLbl="fgAcc1" presStyleIdx="7" presStyleCnt="8">
        <dgm:presLayoutVars>
          <dgm:bulletEnabled val="1"/>
        </dgm:presLayoutVars>
      </dgm:prSet>
      <dgm:spPr/>
    </dgm:pt>
    <dgm:pt modelId="{BCED87DF-6F2D-4AE2-87CC-F10CCF4D27A3}" type="pres">
      <dgm:prSet presAssocID="{7249CCFC-B5C5-467F-901F-2A29EFD78A20}" presName="aSpace" presStyleCnt="0"/>
      <dgm:spPr/>
    </dgm:pt>
  </dgm:ptLst>
  <dgm:cxnLst>
    <dgm:cxn modelId="{57683E23-2CBB-4990-8D92-B0FE9DC9D64F}" type="presOf" srcId="{ADF0FB1D-B744-4556-8F53-8B6C3865948E}" destId="{0D872B58-6DA5-4271-95AA-FC6B8721BE13}" srcOrd="0" destOrd="0" presId="urn:microsoft.com/office/officeart/2005/8/layout/pyramid2"/>
    <dgm:cxn modelId="{2A4ACD26-235A-420A-A4F2-934D9822A1F6}" type="presOf" srcId="{8F7FF635-DF76-4A1E-8CFB-CAB911C0AC03}" destId="{A7F54210-628B-45F9-86F2-F90C8E99D79D}" srcOrd="0" destOrd="0" presId="urn:microsoft.com/office/officeart/2005/8/layout/pyramid2"/>
    <dgm:cxn modelId="{3E76ED2B-B7DB-4B93-828E-4D32F18EC888}" type="presOf" srcId="{C11DFA8D-F493-47BA-88B0-C57A388DC810}" destId="{D5C6CAE1-910D-4D6A-A152-26A2C59C9C0A}" srcOrd="0" destOrd="0" presId="urn:microsoft.com/office/officeart/2005/8/layout/pyramid2"/>
    <dgm:cxn modelId="{93D37D30-463E-4AF6-96B0-9ECF8E7E6BB5}" type="presOf" srcId="{5D9DD791-9F27-433C-B36F-4329BA5D56DE}" destId="{C268B9D8-A01A-4024-9B4E-CC4D82F6BADA}" srcOrd="0" destOrd="0" presId="urn:microsoft.com/office/officeart/2005/8/layout/pyramid2"/>
    <dgm:cxn modelId="{6671EE48-366F-4497-8D4B-0EAFBF7C6ADD}" srcId="{75D481D2-6C5F-45D0-AE38-D8CAB5C28148}" destId="{C11DFA8D-F493-47BA-88B0-C57A388DC810}" srcOrd="3" destOrd="0" parTransId="{ADE7B2EE-70B2-47F1-AF83-BC26DA071DB9}" sibTransId="{8D076CDB-A1BC-4510-A3DC-BF8E51ECD2E8}"/>
    <dgm:cxn modelId="{8B2E9352-1A76-4166-9D76-B550880BC3CB}" srcId="{75D481D2-6C5F-45D0-AE38-D8CAB5C28148}" destId="{ADF0FB1D-B744-4556-8F53-8B6C3865948E}" srcOrd="5" destOrd="0" parTransId="{6950A2BB-A3AB-47AB-BB9F-479E0301DB75}" sibTransId="{69A5BFC0-80BE-409A-9C88-835CD0EBCE4E}"/>
    <dgm:cxn modelId="{25A42873-CBDA-4A73-8154-E87D5E81992F}" srcId="{75D481D2-6C5F-45D0-AE38-D8CAB5C28148}" destId="{7249CCFC-B5C5-467F-901F-2A29EFD78A20}" srcOrd="7" destOrd="0" parTransId="{BFD67D3F-EE76-4DA0-8E55-CB2372E633E2}" sibTransId="{0CD8B427-3478-4AFA-B06A-F7BAAC4D45A2}"/>
    <dgm:cxn modelId="{3BE8D281-C1F7-490E-8D2A-05EE4FDE2CF5}" type="presOf" srcId="{C1BB2F78-3123-4C67-A4F5-1604C23AC012}" destId="{C48C0657-D6F1-427C-AAF3-CA4CEAFEC3CC}" srcOrd="0" destOrd="0" presId="urn:microsoft.com/office/officeart/2005/8/layout/pyramid2"/>
    <dgm:cxn modelId="{28F23D88-B3B7-47EA-A68D-53D3A3BE4235}" srcId="{75D481D2-6C5F-45D0-AE38-D8CAB5C28148}" destId="{8F7FF635-DF76-4A1E-8CFB-CAB911C0AC03}" srcOrd="6" destOrd="0" parTransId="{6123F611-2DAA-45B4-B590-C7E518A3499B}" sibTransId="{041BC364-64D5-40C5-8F30-0FDA1240678C}"/>
    <dgm:cxn modelId="{2C2744A2-B088-4B4E-AF85-D0FDF1D22CE2}" type="presOf" srcId="{F1D133E3-025A-4326-8D6B-43DF89E437F9}" destId="{FF820F3A-D7E7-4D7C-B7FC-D80A1B52E44E}" srcOrd="0" destOrd="0" presId="urn:microsoft.com/office/officeart/2005/8/layout/pyramid2"/>
    <dgm:cxn modelId="{B53792C3-7046-4729-BF08-37DDCED2120B}" type="presOf" srcId="{75D481D2-6C5F-45D0-AE38-D8CAB5C28148}" destId="{3848D9EB-A6A9-4439-AC11-BD9DB398C0DF}" srcOrd="0" destOrd="0" presId="urn:microsoft.com/office/officeart/2005/8/layout/pyramid2"/>
    <dgm:cxn modelId="{160E02E0-C7B3-46A9-BA6E-91427FE136F9}" type="presOf" srcId="{61AEDAB5-B19A-458C-8C57-B9ACEECDC23B}" destId="{EF8641BF-D823-4C46-85A5-C4FDE7368C85}" srcOrd="0" destOrd="0" presId="urn:microsoft.com/office/officeart/2005/8/layout/pyramid2"/>
    <dgm:cxn modelId="{B85864E0-F44D-49DB-9F9A-268AC7E1FA94}" srcId="{75D481D2-6C5F-45D0-AE38-D8CAB5C28148}" destId="{5D9DD791-9F27-433C-B36F-4329BA5D56DE}" srcOrd="0" destOrd="0" parTransId="{22D23D48-888C-4CAB-9D9B-A5C81C12B4E4}" sibTransId="{EC9E2006-2DFF-48E0-BCCF-679048A1C896}"/>
    <dgm:cxn modelId="{2AD7B7E2-0AB3-4446-990A-2DEDAF551CB1}" type="presOf" srcId="{7249CCFC-B5C5-467F-901F-2A29EFD78A20}" destId="{6C5930A6-65AD-4F23-96FC-CF68A0CA01DD}" srcOrd="0" destOrd="0" presId="urn:microsoft.com/office/officeart/2005/8/layout/pyramid2"/>
    <dgm:cxn modelId="{77AA24ED-7E51-4FB2-A73C-551B121FE5F6}" srcId="{75D481D2-6C5F-45D0-AE38-D8CAB5C28148}" destId="{F1D133E3-025A-4326-8D6B-43DF89E437F9}" srcOrd="4" destOrd="0" parTransId="{518CC6D6-1CA3-4A78-A77C-273FC5ECF62F}" sibTransId="{C1A44074-90DA-478A-9076-B2D98F1897AF}"/>
    <dgm:cxn modelId="{4C8118EE-DA19-4539-A922-1E2995DE2879}" srcId="{75D481D2-6C5F-45D0-AE38-D8CAB5C28148}" destId="{C1BB2F78-3123-4C67-A4F5-1604C23AC012}" srcOrd="2" destOrd="0" parTransId="{89F51DAA-B12A-4C6C-BFDB-FFDDAE3E88C0}" sibTransId="{917CE221-B247-46E9-B921-82E143EC772D}"/>
    <dgm:cxn modelId="{69937EFE-9335-4201-8455-D19C1A3376B1}" srcId="{75D481D2-6C5F-45D0-AE38-D8CAB5C28148}" destId="{61AEDAB5-B19A-458C-8C57-B9ACEECDC23B}" srcOrd="1" destOrd="0" parTransId="{E775CC95-50FC-479F-ADC9-654593F0D2E7}" sibTransId="{0A983052-4EB9-4DFD-BEBD-6AF86E5B975F}"/>
    <dgm:cxn modelId="{48A64D5B-B351-42DB-9A14-C00EDE957D61}" type="presParOf" srcId="{3848D9EB-A6A9-4439-AC11-BD9DB398C0DF}" destId="{2F55422C-73FA-4EA2-8568-2951D8EE52CF}" srcOrd="0" destOrd="0" presId="urn:microsoft.com/office/officeart/2005/8/layout/pyramid2"/>
    <dgm:cxn modelId="{05647EF6-97D8-4BDF-88E2-09F41A1DC871}" type="presParOf" srcId="{3848D9EB-A6A9-4439-AC11-BD9DB398C0DF}" destId="{58B9D046-9B71-4E62-84DE-02CAF40C8DCD}" srcOrd="1" destOrd="0" presId="urn:microsoft.com/office/officeart/2005/8/layout/pyramid2"/>
    <dgm:cxn modelId="{48453439-249C-46DA-9DFB-CBDF626595E1}" type="presParOf" srcId="{58B9D046-9B71-4E62-84DE-02CAF40C8DCD}" destId="{C268B9D8-A01A-4024-9B4E-CC4D82F6BADA}" srcOrd="0" destOrd="0" presId="urn:microsoft.com/office/officeart/2005/8/layout/pyramid2"/>
    <dgm:cxn modelId="{93A6BB77-BB83-44D1-886E-91446BBF241E}" type="presParOf" srcId="{58B9D046-9B71-4E62-84DE-02CAF40C8DCD}" destId="{3E65D31C-E0AE-48A7-9482-E912905FA51E}" srcOrd="1" destOrd="0" presId="urn:microsoft.com/office/officeart/2005/8/layout/pyramid2"/>
    <dgm:cxn modelId="{88C52BEF-2073-4D92-B860-7D5D49E75F51}" type="presParOf" srcId="{58B9D046-9B71-4E62-84DE-02CAF40C8DCD}" destId="{EF8641BF-D823-4C46-85A5-C4FDE7368C85}" srcOrd="2" destOrd="0" presId="urn:microsoft.com/office/officeart/2005/8/layout/pyramid2"/>
    <dgm:cxn modelId="{9AC667BB-2E72-49A9-90AD-E20A7815BD75}" type="presParOf" srcId="{58B9D046-9B71-4E62-84DE-02CAF40C8DCD}" destId="{7C31826E-721E-4C51-8A10-AD8741A9CD5E}" srcOrd="3" destOrd="0" presId="urn:microsoft.com/office/officeart/2005/8/layout/pyramid2"/>
    <dgm:cxn modelId="{52B96B63-4AEA-49CA-9BF1-3AD7AB281EE0}" type="presParOf" srcId="{58B9D046-9B71-4E62-84DE-02CAF40C8DCD}" destId="{C48C0657-D6F1-427C-AAF3-CA4CEAFEC3CC}" srcOrd="4" destOrd="0" presId="urn:microsoft.com/office/officeart/2005/8/layout/pyramid2"/>
    <dgm:cxn modelId="{52198B8F-4295-4166-9978-E5B69BE0424A}" type="presParOf" srcId="{58B9D046-9B71-4E62-84DE-02CAF40C8DCD}" destId="{5B4ADF09-54F5-41D3-BBFC-E521B545F54B}" srcOrd="5" destOrd="0" presId="urn:microsoft.com/office/officeart/2005/8/layout/pyramid2"/>
    <dgm:cxn modelId="{BD7D628E-9F55-479A-90CB-0CE1D38E2513}" type="presParOf" srcId="{58B9D046-9B71-4E62-84DE-02CAF40C8DCD}" destId="{D5C6CAE1-910D-4D6A-A152-26A2C59C9C0A}" srcOrd="6" destOrd="0" presId="urn:microsoft.com/office/officeart/2005/8/layout/pyramid2"/>
    <dgm:cxn modelId="{4FE395CC-AC46-45F9-BEF6-F4945B630B8C}" type="presParOf" srcId="{58B9D046-9B71-4E62-84DE-02CAF40C8DCD}" destId="{E5B131E9-BEAA-4ADE-88C0-F8931C4E1CDA}" srcOrd="7" destOrd="0" presId="urn:microsoft.com/office/officeart/2005/8/layout/pyramid2"/>
    <dgm:cxn modelId="{249308E7-5B9D-4D23-B944-EF020D638F21}" type="presParOf" srcId="{58B9D046-9B71-4E62-84DE-02CAF40C8DCD}" destId="{FF820F3A-D7E7-4D7C-B7FC-D80A1B52E44E}" srcOrd="8" destOrd="0" presId="urn:microsoft.com/office/officeart/2005/8/layout/pyramid2"/>
    <dgm:cxn modelId="{8C07F6B1-1CE5-48CE-965C-5F61F274F829}" type="presParOf" srcId="{58B9D046-9B71-4E62-84DE-02CAF40C8DCD}" destId="{66CBF873-97DF-4E09-A283-594A2445221E}" srcOrd="9" destOrd="0" presId="urn:microsoft.com/office/officeart/2005/8/layout/pyramid2"/>
    <dgm:cxn modelId="{BD857938-3641-4F1A-ABCD-1A8E1EC49AE0}" type="presParOf" srcId="{58B9D046-9B71-4E62-84DE-02CAF40C8DCD}" destId="{0D872B58-6DA5-4271-95AA-FC6B8721BE13}" srcOrd="10" destOrd="0" presId="urn:microsoft.com/office/officeart/2005/8/layout/pyramid2"/>
    <dgm:cxn modelId="{045B7397-A826-4C70-BD13-0408C451238A}" type="presParOf" srcId="{58B9D046-9B71-4E62-84DE-02CAF40C8DCD}" destId="{C4DCEFCA-2D54-4B3F-9C74-4E7B05D40519}" srcOrd="11" destOrd="0" presId="urn:microsoft.com/office/officeart/2005/8/layout/pyramid2"/>
    <dgm:cxn modelId="{FC235A6D-89D3-424D-91D1-3B2F4D03E714}" type="presParOf" srcId="{58B9D046-9B71-4E62-84DE-02CAF40C8DCD}" destId="{A7F54210-628B-45F9-86F2-F90C8E99D79D}" srcOrd="12" destOrd="0" presId="urn:microsoft.com/office/officeart/2005/8/layout/pyramid2"/>
    <dgm:cxn modelId="{3B08AC9A-C823-436A-BB14-E12B516E87EF}" type="presParOf" srcId="{58B9D046-9B71-4E62-84DE-02CAF40C8DCD}" destId="{325B3D03-2FE5-4860-AD59-95754049E4EE}" srcOrd="13" destOrd="0" presId="urn:microsoft.com/office/officeart/2005/8/layout/pyramid2"/>
    <dgm:cxn modelId="{2E451D03-2A2B-418C-A099-347925791AA3}" type="presParOf" srcId="{58B9D046-9B71-4E62-84DE-02CAF40C8DCD}" destId="{6C5930A6-65AD-4F23-96FC-CF68A0CA01DD}" srcOrd="14" destOrd="0" presId="urn:microsoft.com/office/officeart/2005/8/layout/pyramid2"/>
    <dgm:cxn modelId="{37629641-6AE1-423F-8636-8EB7BF9C37FD}" type="presParOf" srcId="{58B9D046-9B71-4E62-84DE-02CAF40C8DCD}" destId="{BCED87DF-6F2D-4AE2-87CC-F10CCF4D27A3}" srcOrd="1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FD26ED30-075A-41BB-8C8F-DCCD5C1E2DA3}" type="doc">
      <dgm:prSet loTypeId="urn:microsoft.com/office/officeart/2005/8/layout/default" loCatId="list" qsTypeId="urn:microsoft.com/office/officeart/2005/8/quickstyle/3d2" qsCatId="3D" csTypeId="urn:microsoft.com/office/officeart/2005/8/colors/accent3_5" csCatId="accent3" phldr="1"/>
      <dgm:spPr/>
    </dgm:pt>
    <dgm:pt modelId="{934E711C-03CE-41FE-A5C2-39FDBBF8F471}">
      <dgm:prSet phldrT="[Text]"/>
      <dgm:spPr/>
      <dgm:t>
        <a:bodyPr/>
        <a:lstStyle/>
        <a:p>
          <a:r>
            <a:rPr lang="en-US" b="1"/>
            <a:t>Automated Data Analysis</a:t>
          </a:r>
          <a:endParaRPr lang="en-US" b="1" dirty="0"/>
        </a:p>
      </dgm:t>
    </dgm:pt>
    <dgm:pt modelId="{735C196A-6F8F-4B3B-B58A-498CA2C83942}" type="parTrans" cxnId="{081E9EEA-B2CF-44C3-837A-3013724CDD1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E6494E2-2FD4-453A-BD44-E791DB5DD555}" type="sibTrans" cxnId="{081E9EEA-B2CF-44C3-837A-3013724CDD1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53FAB24-AF9A-4540-B848-E089BC867B4B}">
      <dgm:prSet phldrT="[Text]"/>
      <dgm:spPr/>
      <dgm:t>
        <a:bodyPr/>
        <a:lstStyle/>
        <a:p>
          <a:r>
            <a:rPr lang="en-US" b="1"/>
            <a:t>Knowledge Presentation</a:t>
          </a:r>
          <a:endParaRPr lang="en-US" b="1" dirty="0"/>
        </a:p>
      </dgm:t>
    </dgm:pt>
    <dgm:pt modelId="{592A9F55-B9B4-4B67-B542-D0DDDBA99F8D}" type="parTrans" cxnId="{46A5E243-8EC5-455C-A9A5-2B8FB4283F3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25EA1C9-FC4E-414B-AC7B-34E7B9E33101}" type="sibTrans" cxnId="{46A5E243-8EC5-455C-A9A5-2B8FB4283F3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3189A0B-7D44-49ED-9D08-D80714AB5FFC}">
      <dgm:prSet phldrT="[Text]"/>
      <dgm:spPr/>
      <dgm:t>
        <a:bodyPr/>
        <a:lstStyle/>
        <a:p>
          <a:r>
            <a:rPr lang="en-US" b="1"/>
            <a:t>Reasoning Process</a:t>
          </a:r>
          <a:endParaRPr lang="en-US" b="1" dirty="0"/>
        </a:p>
      </dgm:t>
    </dgm:pt>
    <dgm:pt modelId="{08B2586B-5285-4621-81E3-522A23DB291A}" type="parTrans" cxnId="{30A07882-F634-4697-8BD1-BB2F59972D8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49115DE-225C-4EEB-BA5A-AF4ADD4B0F04}" type="sibTrans" cxnId="{30A07882-F634-4697-8BD1-BB2F59972D8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AA3825F8-5233-44C2-B4C3-B78E5E179DB4}">
      <dgm:prSet phldrT="[Text]"/>
      <dgm:spPr/>
      <dgm:t>
        <a:bodyPr/>
        <a:lstStyle/>
        <a:p>
          <a:r>
            <a:rPr lang="en-US" b="1"/>
            <a:t>Knowledge Discovery</a:t>
          </a:r>
          <a:endParaRPr lang="en-US" b="1" dirty="0"/>
        </a:p>
      </dgm:t>
    </dgm:pt>
    <dgm:pt modelId="{0CA80167-EAD9-4BD3-9BCB-E94B3BF39B12}" type="parTrans" cxnId="{804A2334-5DDA-4A29-BA4D-E5C9FCB33E4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707B8F8-A298-46D2-9631-EF846919FB88}" type="sibTrans" cxnId="{804A2334-5DDA-4A29-BA4D-E5C9FCB33E4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E3932A2-BB6D-4DFF-983B-1F7493CD116B}">
      <dgm:prSet phldrT="[Text]"/>
      <dgm:spPr/>
      <dgm:t>
        <a:bodyPr/>
        <a:lstStyle/>
        <a:p>
          <a:r>
            <a:rPr lang="en-US" b="1"/>
            <a:t>Expert Systems</a:t>
          </a:r>
          <a:endParaRPr lang="en-US" b="1" dirty="0"/>
        </a:p>
      </dgm:t>
    </dgm:pt>
    <dgm:pt modelId="{34050377-AA89-4CF9-89BE-803FAC69D2C5}" type="parTrans" cxnId="{45EC4F34-72A8-4B28-9588-4C13CD8BC51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E51F55C-A41A-4E9E-A9D3-1310CFFD69A8}" type="sibTrans" cxnId="{45EC4F34-72A8-4B28-9588-4C13CD8BC51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F1CC671-4BB3-467E-B6C5-6FB1F94EAD6A}">
      <dgm:prSet phldrT="[Text]"/>
      <dgm:spPr/>
      <dgm:t>
        <a:bodyPr/>
        <a:lstStyle/>
        <a:p>
          <a:r>
            <a:rPr lang="en-US" b="1"/>
            <a:t>Recognizing Patterns</a:t>
          </a:r>
          <a:endParaRPr lang="en-US" b="1" dirty="0"/>
        </a:p>
      </dgm:t>
    </dgm:pt>
    <dgm:pt modelId="{F29D89D1-53EA-4205-A032-F51E445E1568}" type="parTrans" cxnId="{4E987614-358E-4AC7-9079-B7A519F3EE2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4AF11D3-49E8-4D0A-A9C5-8EB71AE97EC8}" type="sibTrans" cxnId="{4E987614-358E-4AC7-9079-B7A519F3EE26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24374D5-C774-4FC6-9DBB-94FF13DD71B8}">
      <dgm:prSet phldrT="[Text]"/>
      <dgm:spPr/>
      <dgm:t>
        <a:bodyPr/>
        <a:lstStyle/>
        <a:p>
          <a:r>
            <a:rPr lang="en-US" b="1"/>
            <a:t>Image and Video Analysis</a:t>
          </a:r>
          <a:endParaRPr lang="en-US" b="1" dirty="0"/>
        </a:p>
      </dgm:t>
    </dgm:pt>
    <dgm:pt modelId="{A0A51BB7-F842-4A20-ABA1-6B07CCFC32BA}" type="parTrans" cxnId="{C274E48D-DAF9-4CF8-838C-632106BA5CE2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2CF3272-F0C7-4D9D-B17C-6D4905982B91}" type="sibTrans" cxnId="{C274E48D-DAF9-4CF8-838C-632106BA5CE2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AFCBBF69-BA90-4D59-B747-69CBA4EA9952}">
      <dgm:prSet phldrT="[Text]"/>
      <dgm:spPr/>
      <dgm:t>
        <a:bodyPr/>
        <a:lstStyle/>
        <a:p>
          <a:r>
            <a:rPr lang="en-US" b="1"/>
            <a:t>Natural Language Processing (NLP)</a:t>
          </a:r>
          <a:endParaRPr lang="en-US" b="1" dirty="0"/>
        </a:p>
      </dgm:t>
    </dgm:pt>
    <dgm:pt modelId="{4AE239CB-FDBB-40A6-9A01-15D7A341C825}" type="parTrans" cxnId="{CC5888DB-4B14-48CB-9A7B-5288352AA19F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5D4924B-3F22-43E3-8AC6-8EB00E815C72}" type="sibTrans" cxnId="{CC5888DB-4B14-48CB-9A7B-5288352AA19F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0DC84DC-9FFB-4729-A818-FAFE0A863B01}">
      <dgm:prSet phldrT="[Text]"/>
      <dgm:spPr/>
      <dgm:t>
        <a:bodyPr/>
        <a:lstStyle/>
        <a:p>
          <a:r>
            <a:rPr lang="en-US" b="1" dirty="0"/>
            <a:t>Predictive Analysis</a:t>
          </a:r>
        </a:p>
      </dgm:t>
    </dgm:pt>
    <dgm:pt modelId="{E4D1AFBD-CEDD-4178-AC5A-614A1A84A701}" type="parTrans" cxnId="{19FC84AA-7BE0-4DE0-8D6C-17C530489AD0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09BE831-20A7-4945-B546-FEC179FD9972}" type="sibTrans" cxnId="{19FC84AA-7BE0-4DE0-8D6C-17C530489AD0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06BDB41-E349-48DD-8557-04327F2CF8DF}" type="pres">
      <dgm:prSet presAssocID="{FD26ED30-075A-41BB-8C8F-DCCD5C1E2DA3}" presName="diagram" presStyleCnt="0">
        <dgm:presLayoutVars>
          <dgm:dir/>
          <dgm:resizeHandles val="exact"/>
        </dgm:presLayoutVars>
      </dgm:prSet>
      <dgm:spPr/>
    </dgm:pt>
    <dgm:pt modelId="{958A26EA-8B3F-4E7E-8F5D-50BEA0AB144D}" type="pres">
      <dgm:prSet presAssocID="{934E711C-03CE-41FE-A5C2-39FDBBF8F471}" presName="node" presStyleLbl="node1" presStyleIdx="0" presStyleCnt="9">
        <dgm:presLayoutVars>
          <dgm:bulletEnabled val="1"/>
        </dgm:presLayoutVars>
      </dgm:prSet>
      <dgm:spPr/>
    </dgm:pt>
    <dgm:pt modelId="{2603703C-99FE-46E7-B7D7-107F1C5B3197}" type="pres">
      <dgm:prSet presAssocID="{0E6494E2-2FD4-453A-BD44-E791DB5DD555}" presName="sibTrans" presStyleCnt="0"/>
      <dgm:spPr/>
    </dgm:pt>
    <dgm:pt modelId="{339C0D75-0F1E-48C0-9A4A-C54588D1120A}" type="pres">
      <dgm:prSet presAssocID="{453FAB24-AF9A-4540-B848-E089BC867B4B}" presName="node" presStyleLbl="node1" presStyleIdx="1" presStyleCnt="9">
        <dgm:presLayoutVars>
          <dgm:bulletEnabled val="1"/>
        </dgm:presLayoutVars>
      </dgm:prSet>
      <dgm:spPr/>
    </dgm:pt>
    <dgm:pt modelId="{F593C502-1408-46CD-9A63-CFBBE51177E1}" type="pres">
      <dgm:prSet presAssocID="{825EA1C9-FC4E-414B-AC7B-34E7B9E33101}" presName="sibTrans" presStyleCnt="0"/>
      <dgm:spPr/>
    </dgm:pt>
    <dgm:pt modelId="{2FC375B3-C797-49CB-957D-105828A20BB7}" type="pres">
      <dgm:prSet presAssocID="{D3189A0B-7D44-49ED-9D08-D80714AB5FFC}" presName="node" presStyleLbl="node1" presStyleIdx="2" presStyleCnt="9">
        <dgm:presLayoutVars>
          <dgm:bulletEnabled val="1"/>
        </dgm:presLayoutVars>
      </dgm:prSet>
      <dgm:spPr/>
    </dgm:pt>
    <dgm:pt modelId="{793654CB-0420-44A4-9EF8-6C8657345C45}" type="pres">
      <dgm:prSet presAssocID="{D49115DE-225C-4EEB-BA5A-AF4ADD4B0F04}" presName="sibTrans" presStyleCnt="0"/>
      <dgm:spPr/>
    </dgm:pt>
    <dgm:pt modelId="{1021DD5B-A585-4417-9726-A5392B51E1AB}" type="pres">
      <dgm:prSet presAssocID="{AA3825F8-5233-44C2-B4C3-B78E5E179DB4}" presName="node" presStyleLbl="node1" presStyleIdx="3" presStyleCnt="9">
        <dgm:presLayoutVars>
          <dgm:bulletEnabled val="1"/>
        </dgm:presLayoutVars>
      </dgm:prSet>
      <dgm:spPr/>
    </dgm:pt>
    <dgm:pt modelId="{7F3FEA15-CD33-4258-9B08-6F9320832B08}" type="pres">
      <dgm:prSet presAssocID="{D707B8F8-A298-46D2-9631-EF846919FB88}" presName="sibTrans" presStyleCnt="0"/>
      <dgm:spPr/>
    </dgm:pt>
    <dgm:pt modelId="{7822B71C-5430-453A-B775-97D4040731B7}" type="pres">
      <dgm:prSet presAssocID="{0E3932A2-BB6D-4DFF-983B-1F7493CD116B}" presName="node" presStyleLbl="node1" presStyleIdx="4" presStyleCnt="9">
        <dgm:presLayoutVars>
          <dgm:bulletEnabled val="1"/>
        </dgm:presLayoutVars>
      </dgm:prSet>
      <dgm:spPr/>
    </dgm:pt>
    <dgm:pt modelId="{473C8522-BEF5-4346-A275-5DC5FA03113F}" type="pres">
      <dgm:prSet presAssocID="{3E51F55C-A41A-4E9E-A9D3-1310CFFD69A8}" presName="sibTrans" presStyleCnt="0"/>
      <dgm:spPr/>
    </dgm:pt>
    <dgm:pt modelId="{4E60C89A-26ED-4A90-8C90-A1DA25970499}" type="pres">
      <dgm:prSet presAssocID="{EF1CC671-4BB3-467E-B6C5-6FB1F94EAD6A}" presName="node" presStyleLbl="node1" presStyleIdx="5" presStyleCnt="9">
        <dgm:presLayoutVars>
          <dgm:bulletEnabled val="1"/>
        </dgm:presLayoutVars>
      </dgm:prSet>
      <dgm:spPr/>
    </dgm:pt>
    <dgm:pt modelId="{B6516755-31B6-4CBB-AFB2-113162F9E2A0}" type="pres">
      <dgm:prSet presAssocID="{E4AF11D3-49E8-4D0A-A9C5-8EB71AE97EC8}" presName="sibTrans" presStyleCnt="0"/>
      <dgm:spPr/>
    </dgm:pt>
    <dgm:pt modelId="{61573167-748A-4532-9C74-F9C7DE9690EA}" type="pres">
      <dgm:prSet presAssocID="{524374D5-C774-4FC6-9DBB-94FF13DD71B8}" presName="node" presStyleLbl="node1" presStyleIdx="6" presStyleCnt="9">
        <dgm:presLayoutVars>
          <dgm:bulletEnabled val="1"/>
        </dgm:presLayoutVars>
      </dgm:prSet>
      <dgm:spPr/>
    </dgm:pt>
    <dgm:pt modelId="{A5AED03E-16BB-4603-99B8-1962B3B9BFEC}" type="pres">
      <dgm:prSet presAssocID="{12CF3272-F0C7-4D9D-B17C-6D4905982B91}" presName="sibTrans" presStyleCnt="0"/>
      <dgm:spPr/>
    </dgm:pt>
    <dgm:pt modelId="{9751029D-D6FD-4056-A17C-CAE888B50E72}" type="pres">
      <dgm:prSet presAssocID="{AFCBBF69-BA90-4D59-B747-69CBA4EA9952}" presName="node" presStyleLbl="node1" presStyleIdx="7" presStyleCnt="9">
        <dgm:presLayoutVars>
          <dgm:bulletEnabled val="1"/>
        </dgm:presLayoutVars>
      </dgm:prSet>
      <dgm:spPr/>
    </dgm:pt>
    <dgm:pt modelId="{63867348-12E8-477F-A413-2D2976500202}" type="pres">
      <dgm:prSet presAssocID="{45D4924B-3F22-43E3-8AC6-8EB00E815C72}" presName="sibTrans" presStyleCnt="0"/>
      <dgm:spPr/>
    </dgm:pt>
    <dgm:pt modelId="{9CCCF9C1-7887-4E24-9686-ADD613A8EB24}" type="pres">
      <dgm:prSet presAssocID="{50DC84DC-9FFB-4729-A818-FAFE0A863B01}" presName="node" presStyleLbl="node1" presStyleIdx="8" presStyleCnt="9">
        <dgm:presLayoutVars>
          <dgm:bulletEnabled val="1"/>
        </dgm:presLayoutVars>
      </dgm:prSet>
      <dgm:spPr/>
    </dgm:pt>
  </dgm:ptLst>
  <dgm:cxnLst>
    <dgm:cxn modelId="{4F751214-326C-45AE-8DF2-3950DE7EB702}" type="presOf" srcId="{EF1CC671-4BB3-467E-B6C5-6FB1F94EAD6A}" destId="{4E60C89A-26ED-4A90-8C90-A1DA25970499}" srcOrd="0" destOrd="0" presId="urn:microsoft.com/office/officeart/2005/8/layout/default"/>
    <dgm:cxn modelId="{4E987614-358E-4AC7-9079-B7A519F3EE26}" srcId="{FD26ED30-075A-41BB-8C8F-DCCD5C1E2DA3}" destId="{EF1CC671-4BB3-467E-B6C5-6FB1F94EAD6A}" srcOrd="5" destOrd="0" parTransId="{F29D89D1-53EA-4205-A032-F51E445E1568}" sibTransId="{E4AF11D3-49E8-4D0A-A9C5-8EB71AE97EC8}"/>
    <dgm:cxn modelId="{804A2334-5DDA-4A29-BA4D-E5C9FCB33E49}" srcId="{FD26ED30-075A-41BB-8C8F-DCCD5C1E2DA3}" destId="{AA3825F8-5233-44C2-B4C3-B78E5E179DB4}" srcOrd="3" destOrd="0" parTransId="{0CA80167-EAD9-4BD3-9BCB-E94B3BF39B12}" sibTransId="{D707B8F8-A298-46D2-9631-EF846919FB88}"/>
    <dgm:cxn modelId="{45EC4F34-72A8-4B28-9588-4C13CD8BC516}" srcId="{FD26ED30-075A-41BB-8C8F-DCCD5C1E2DA3}" destId="{0E3932A2-BB6D-4DFF-983B-1F7493CD116B}" srcOrd="4" destOrd="0" parTransId="{34050377-AA89-4CF9-89BE-803FAC69D2C5}" sibTransId="{3E51F55C-A41A-4E9E-A9D3-1310CFFD69A8}"/>
    <dgm:cxn modelId="{02E3A661-5B26-47F1-A9E0-6C69372F8612}" type="presOf" srcId="{0E3932A2-BB6D-4DFF-983B-1F7493CD116B}" destId="{7822B71C-5430-453A-B775-97D4040731B7}" srcOrd="0" destOrd="0" presId="urn:microsoft.com/office/officeart/2005/8/layout/default"/>
    <dgm:cxn modelId="{46A5E243-8EC5-455C-A9A5-2B8FB4283F3A}" srcId="{FD26ED30-075A-41BB-8C8F-DCCD5C1E2DA3}" destId="{453FAB24-AF9A-4540-B848-E089BC867B4B}" srcOrd="1" destOrd="0" parTransId="{592A9F55-B9B4-4B67-B542-D0DDDBA99F8D}" sibTransId="{825EA1C9-FC4E-414B-AC7B-34E7B9E33101}"/>
    <dgm:cxn modelId="{30AD1A78-4F7F-49EF-AAA0-56ABAA8755CC}" type="presOf" srcId="{FD26ED30-075A-41BB-8C8F-DCCD5C1E2DA3}" destId="{E06BDB41-E349-48DD-8557-04327F2CF8DF}" srcOrd="0" destOrd="0" presId="urn:microsoft.com/office/officeart/2005/8/layout/default"/>
    <dgm:cxn modelId="{30A07882-F634-4697-8BD1-BB2F59972D8E}" srcId="{FD26ED30-075A-41BB-8C8F-DCCD5C1E2DA3}" destId="{D3189A0B-7D44-49ED-9D08-D80714AB5FFC}" srcOrd="2" destOrd="0" parTransId="{08B2586B-5285-4621-81E3-522A23DB291A}" sibTransId="{D49115DE-225C-4EEB-BA5A-AF4ADD4B0F04}"/>
    <dgm:cxn modelId="{C274E48D-DAF9-4CF8-838C-632106BA5CE2}" srcId="{FD26ED30-075A-41BB-8C8F-DCCD5C1E2DA3}" destId="{524374D5-C774-4FC6-9DBB-94FF13DD71B8}" srcOrd="6" destOrd="0" parTransId="{A0A51BB7-F842-4A20-ABA1-6B07CCFC32BA}" sibTransId="{12CF3272-F0C7-4D9D-B17C-6D4905982B91}"/>
    <dgm:cxn modelId="{D781249F-1806-4FA7-A0B6-D4BD373547C4}" type="presOf" srcId="{524374D5-C774-4FC6-9DBB-94FF13DD71B8}" destId="{61573167-748A-4532-9C74-F9C7DE9690EA}" srcOrd="0" destOrd="0" presId="urn:microsoft.com/office/officeart/2005/8/layout/default"/>
    <dgm:cxn modelId="{CDE0269F-3519-4FE7-97FC-D9BF272A5534}" type="presOf" srcId="{934E711C-03CE-41FE-A5C2-39FDBBF8F471}" destId="{958A26EA-8B3F-4E7E-8F5D-50BEA0AB144D}" srcOrd="0" destOrd="0" presId="urn:microsoft.com/office/officeart/2005/8/layout/default"/>
    <dgm:cxn modelId="{2A922EA9-9E50-4E84-98E2-1D6557D1E6CF}" type="presOf" srcId="{453FAB24-AF9A-4540-B848-E089BC867B4B}" destId="{339C0D75-0F1E-48C0-9A4A-C54588D1120A}" srcOrd="0" destOrd="0" presId="urn:microsoft.com/office/officeart/2005/8/layout/default"/>
    <dgm:cxn modelId="{54B172AA-CF34-42AB-AF22-D540A05DA879}" type="presOf" srcId="{D3189A0B-7D44-49ED-9D08-D80714AB5FFC}" destId="{2FC375B3-C797-49CB-957D-105828A20BB7}" srcOrd="0" destOrd="0" presId="urn:microsoft.com/office/officeart/2005/8/layout/default"/>
    <dgm:cxn modelId="{19FC84AA-7BE0-4DE0-8D6C-17C530489AD0}" srcId="{FD26ED30-075A-41BB-8C8F-DCCD5C1E2DA3}" destId="{50DC84DC-9FFB-4729-A818-FAFE0A863B01}" srcOrd="8" destOrd="0" parTransId="{E4D1AFBD-CEDD-4178-AC5A-614A1A84A701}" sibTransId="{009BE831-20A7-4945-B546-FEC179FD9972}"/>
    <dgm:cxn modelId="{6858A4B6-28BD-4478-B50C-1C965384305F}" type="presOf" srcId="{AA3825F8-5233-44C2-B4C3-B78E5E179DB4}" destId="{1021DD5B-A585-4417-9726-A5392B51E1AB}" srcOrd="0" destOrd="0" presId="urn:microsoft.com/office/officeart/2005/8/layout/default"/>
    <dgm:cxn modelId="{056444C5-BED2-476E-B678-838E1164F4CC}" type="presOf" srcId="{50DC84DC-9FFB-4729-A818-FAFE0A863B01}" destId="{9CCCF9C1-7887-4E24-9686-ADD613A8EB24}" srcOrd="0" destOrd="0" presId="urn:microsoft.com/office/officeart/2005/8/layout/default"/>
    <dgm:cxn modelId="{CC5888DB-4B14-48CB-9A7B-5288352AA19F}" srcId="{FD26ED30-075A-41BB-8C8F-DCCD5C1E2DA3}" destId="{AFCBBF69-BA90-4D59-B747-69CBA4EA9952}" srcOrd="7" destOrd="0" parTransId="{4AE239CB-FDBB-40A6-9A01-15D7A341C825}" sibTransId="{45D4924B-3F22-43E3-8AC6-8EB00E815C72}"/>
    <dgm:cxn modelId="{081E9EEA-B2CF-44C3-837A-3013724CDD1A}" srcId="{FD26ED30-075A-41BB-8C8F-DCCD5C1E2DA3}" destId="{934E711C-03CE-41FE-A5C2-39FDBBF8F471}" srcOrd="0" destOrd="0" parTransId="{735C196A-6F8F-4B3B-B58A-498CA2C83942}" sibTransId="{0E6494E2-2FD4-453A-BD44-E791DB5DD555}"/>
    <dgm:cxn modelId="{01949DF4-A36A-4B6D-A873-EBF383F0899C}" type="presOf" srcId="{AFCBBF69-BA90-4D59-B747-69CBA4EA9952}" destId="{9751029D-D6FD-4056-A17C-CAE888B50E72}" srcOrd="0" destOrd="0" presId="urn:microsoft.com/office/officeart/2005/8/layout/default"/>
    <dgm:cxn modelId="{AE056497-B526-4319-BB17-FA54BA39FD5A}" type="presParOf" srcId="{E06BDB41-E349-48DD-8557-04327F2CF8DF}" destId="{958A26EA-8B3F-4E7E-8F5D-50BEA0AB144D}" srcOrd="0" destOrd="0" presId="urn:microsoft.com/office/officeart/2005/8/layout/default"/>
    <dgm:cxn modelId="{918162C0-1C2F-482F-A256-DECD719507FE}" type="presParOf" srcId="{E06BDB41-E349-48DD-8557-04327F2CF8DF}" destId="{2603703C-99FE-46E7-B7D7-107F1C5B3197}" srcOrd="1" destOrd="0" presId="urn:microsoft.com/office/officeart/2005/8/layout/default"/>
    <dgm:cxn modelId="{92D53E1B-6F3D-4B3C-9700-15B5D7D0CB03}" type="presParOf" srcId="{E06BDB41-E349-48DD-8557-04327F2CF8DF}" destId="{339C0D75-0F1E-48C0-9A4A-C54588D1120A}" srcOrd="2" destOrd="0" presId="urn:microsoft.com/office/officeart/2005/8/layout/default"/>
    <dgm:cxn modelId="{02A8E4C2-203A-46EB-AFD8-5AA006819992}" type="presParOf" srcId="{E06BDB41-E349-48DD-8557-04327F2CF8DF}" destId="{F593C502-1408-46CD-9A63-CFBBE51177E1}" srcOrd="3" destOrd="0" presId="urn:microsoft.com/office/officeart/2005/8/layout/default"/>
    <dgm:cxn modelId="{35A52F18-1329-4CFE-80FC-18576285BDA6}" type="presParOf" srcId="{E06BDB41-E349-48DD-8557-04327F2CF8DF}" destId="{2FC375B3-C797-49CB-957D-105828A20BB7}" srcOrd="4" destOrd="0" presId="urn:microsoft.com/office/officeart/2005/8/layout/default"/>
    <dgm:cxn modelId="{01624E7E-A4C2-4139-824C-3034C77BE890}" type="presParOf" srcId="{E06BDB41-E349-48DD-8557-04327F2CF8DF}" destId="{793654CB-0420-44A4-9EF8-6C8657345C45}" srcOrd="5" destOrd="0" presId="urn:microsoft.com/office/officeart/2005/8/layout/default"/>
    <dgm:cxn modelId="{1CB65E47-194E-4E77-8048-308E39A73B14}" type="presParOf" srcId="{E06BDB41-E349-48DD-8557-04327F2CF8DF}" destId="{1021DD5B-A585-4417-9726-A5392B51E1AB}" srcOrd="6" destOrd="0" presId="urn:microsoft.com/office/officeart/2005/8/layout/default"/>
    <dgm:cxn modelId="{57385887-B593-4996-923C-4C120F092BDC}" type="presParOf" srcId="{E06BDB41-E349-48DD-8557-04327F2CF8DF}" destId="{7F3FEA15-CD33-4258-9B08-6F9320832B08}" srcOrd="7" destOrd="0" presId="urn:microsoft.com/office/officeart/2005/8/layout/default"/>
    <dgm:cxn modelId="{896AD912-A14B-4757-9A3A-85BEEFEFB8F5}" type="presParOf" srcId="{E06BDB41-E349-48DD-8557-04327F2CF8DF}" destId="{7822B71C-5430-453A-B775-97D4040731B7}" srcOrd="8" destOrd="0" presId="urn:microsoft.com/office/officeart/2005/8/layout/default"/>
    <dgm:cxn modelId="{AD7E3138-6FCB-4CF2-85AC-7DF507D01603}" type="presParOf" srcId="{E06BDB41-E349-48DD-8557-04327F2CF8DF}" destId="{473C8522-BEF5-4346-A275-5DC5FA03113F}" srcOrd="9" destOrd="0" presId="urn:microsoft.com/office/officeart/2005/8/layout/default"/>
    <dgm:cxn modelId="{6E27AD35-1779-4B62-8EB7-C97A765021ED}" type="presParOf" srcId="{E06BDB41-E349-48DD-8557-04327F2CF8DF}" destId="{4E60C89A-26ED-4A90-8C90-A1DA25970499}" srcOrd="10" destOrd="0" presId="urn:microsoft.com/office/officeart/2005/8/layout/default"/>
    <dgm:cxn modelId="{91585AD4-C544-486C-A675-E9AFD93D16AE}" type="presParOf" srcId="{E06BDB41-E349-48DD-8557-04327F2CF8DF}" destId="{B6516755-31B6-4CBB-AFB2-113162F9E2A0}" srcOrd="11" destOrd="0" presId="urn:microsoft.com/office/officeart/2005/8/layout/default"/>
    <dgm:cxn modelId="{939DFE74-022D-428D-A483-626EBC56727E}" type="presParOf" srcId="{E06BDB41-E349-48DD-8557-04327F2CF8DF}" destId="{61573167-748A-4532-9C74-F9C7DE9690EA}" srcOrd="12" destOrd="0" presId="urn:microsoft.com/office/officeart/2005/8/layout/default"/>
    <dgm:cxn modelId="{1419FCAC-07F4-4AD8-8E2C-092F09612F7E}" type="presParOf" srcId="{E06BDB41-E349-48DD-8557-04327F2CF8DF}" destId="{A5AED03E-16BB-4603-99B8-1962B3B9BFEC}" srcOrd="13" destOrd="0" presId="urn:microsoft.com/office/officeart/2005/8/layout/default"/>
    <dgm:cxn modelId="{83006E95-0D39-42FA-B730-84F0DAB3CF05}" type="presParOf" srcId="{E06BDB41-E349-48DD-8557-04327F2CF8DF}" destId="{9751029D-D6FD-4056-A17C-CAE888B50E72}" srcOrd="14" destOrd="0" presId="urn:microsoft.com/office/officeart/2005/8/layout/default"/>
    <dgm:cxn modelId="{0BA01DDB-AE1F-4042-8E0C-11EDB82EFB19}" type="presParOf" srcId="{E06BDB41-E349-48DD-8557-04327F2CF8DF}" destId="{63867348-12E8-477F-A413-2D2976500202}" srcOrd="15" destOrd="0" presId="urn:microsoft.com/office/officeart/2005/8/layout/default"/>
    <dgm:cxn modelId="{CEEBF330-647E-44FD-80B0-7E5A679B8CE3}" type="presParOf" srcId="{E06BDB41-E349-48DD-8557-04327F2CF8DF}" destId="{9CCCF9C1-7887-4E24-9686-ADD613A8EB24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AE9C169-F2AD-440A-B0CE-498903A6B0AD}" type="doc">
      <dgm:prSet loTypeId="urn:microsoft.com/office/officeart/2005/8/layout/default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3F122AED-ED0A-47E2-82C0-5B94A037FFC4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Identify Crime Scene</a:t>
          </a:r>
        </a:p>
      </dgm:t>
    </dgm:pt>
    <dgm:pt modelId="{415D0AA0-2A41-4CE3-B635-03B1D9A1CB47}" type="parTrans" cxnId="{0F6DBBD6-C388-4160-A6B4-3A19590353D8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97ADA35-7026-4437-B7BF-7A59C9E811B7}" type="sibTrans" cxnId="{0F6DBBD6-C388-4160-A6B4-3A19590353D8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49C1DA1-4CC3-4627-BA47-C6B64EF95503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Collect Information about Evidence</a:t>
          </a:r>
        </a:p>
      </dgm:t>
    </dgm:pt>
    <dgm:pt modelId="{FE507149-3B4C-4185-993D-EAB574B0C0A5}" type="parTrans" cxnId="{E602D079-6497-4C71-9446-731B0448B67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8D1691C-C5F9-4CEA-BC34-E87C004C3FFA}" type="sibTrans" cxnId="{E602D079-6497-4C71-9446-731B0448B677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F1909255-E9BE-4C02-BE90-FDC1585EE3FA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rotect Crime Scene</a:t>
          </a:r>
        </a:p>
      </dgm:t>
    </dgm:pt>
    <dgm:pt modelId="{1026186B-CF0F-4648-92AA-323DD4D1F5E7}" type="parTrans" cxnId="{34CAC9A6-25D5-4414-B188-576F568C18F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CEEC8AAB-9D19-459C-9D28-7FE20FAB6B54}" type="sibTrans" cxnId="{34CAC9A6-25D5-4414-B188-576F568C18F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8CBF0F8-C3ED-462F-93B4-30E1EA8F36B8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reserve Temporary and Fragile Evidence</a:t>
          </a:r>
        </a:p>
      </dgm:t>
    </dgm:pt>
    <dgm:pt modelId="{4F69D25E-A5F3-464A-935C-805D27C582F8}" type="parTrans" cxnId="{96779695-FBA0-4E14-B715-D8AD391BA7B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73EDB3D-5102-410C-B2D3-1554940098E6}" type="sibTrans" cxnId="{96779695-FBA0-4E14-B715-D8AD391BA7B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D3F66C1-D433-49A1-A72F-8F27E23CF01E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Document All Finding</a:t>
          </a:r>
        </a:p>
      </dgm:t>
    </dgm:pt>
    <dgm:pt modelId="{24E166A9-CBE3-4137-A29F-8C8DA3EFD2A5}" type="parTrans" cxnId="{0AA0D49A-1DCF-4E4D-B189-E949726CB39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3538619-C1C0-4ED6-983F-3F4BA6AB9E0D}" type="sibTrans" cxnId="{0AA0D49A-1DCF-4E4D-B189-E949726CB39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1437824A-DE46-419F-B936-550A8C47ECBC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ackage and Transport Electronic Evidence</a:t>
          </a:r>
        </a:p>
      </dgm:t>
    </dgm:pt>
    <dgm:pt modelId="{D1700861-D50D-43E8-8B9D-A7646EE8EC0C}" type="parTrans" cxnId="{97CA5499-85FF-430B-9CCE-22DA97870BB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534D931-DABB-40EB-8BE4-F2B46478D90A}" type="sibTrans" cxnId="{97CA5499-85FF-430B-9CCE-22DA97870BB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8F351A9-2A34-415A-9448-381E0D19DE81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Gather Preliminary Information from Crime Scene</a:t>
          </a:r>
        </a:p>
      </dgm:t>
    </dgm:pt>
    <dgm:pt modelId="{D2013216-1ED3-4972-B8BF-D9B07A8265C6}" type="parTrans" cxnId="{96F6AC19-EC96-49EC-9C68-52A670E62A3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482F0C4-FF3B-4CA0-AA11-07DF4748254A}" type="sibTrans" cxnId="{96F6AC19-EC96-49EC-9C68-52A670E62A35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BD4E1038-00C4-4B91-B368-BC887B3BB985}" type="pres">
      <dgm:prSet presAssocID="{AAE9C169-F2AD-440A-B0CE-498903A6B0AD}" presName="diagram" presStyleCnt="0">
        <dgm:presLayoutVars>
          <dgm:dir/>
          <dgm:resizeHandles val="exact"/>
        </dgm:presLayoutVars>
      </dgm:prSet>
      <dgm:spPr/>
    </dgm:pt>
    <dgm:pt modelId="{6406F465-EE62-4D3C-B9A1-F6A89DCA49C3}" type="pres">
      <dgm:prSet presAssocID="{3F122AED-ED0A-47E2-82C0-5B94A037FFC4}" presName="node" presStyleLbl="node1" presStyleIdx="0" presStyleCnt="7">
        <dgm:presLayoutVars>
          <dgm:bulletEnabled val="1"/>
        </dgm:presLayoutVars>
      </dgm:prSet>
      <dgm:spPr/>
    </dgm:pt>
    <dgm:pt modelId="{DA16D0A5-33CC-4156-8A91-4432F9554C55}" type="pres">
      <dgm:prSet presAssocID="{097ADA35-7026-4437-B7BF-7A59C9E811B7}" presName="sibTrans" presStyleCnt="0"/>
      <dgm:spPr/>
    </dgm:pt>
    <dgm:pt modelId="{B75FB45F-8198-462D-A1D2-07BDACE94F78}" type="pres">
      <dgm:prSet presAssocID="{F1909255-E9BE-4C02-BE90-FDC1585EE3FA}" presName="node" presStyleLbl="node1" presStyleIdx="1" presStyleCnt="7">
        <dgm:presLayoutVars>
          <dgm:bulletEnabled val="1"/>
        </dgm:presLayoutVars>
      </dgm:prSet>
      <dgm:spPr/>
    </dgm:pt>
    <dgm:pt modelId="{0AE0C032-FC0D-4C76-9682-4A4FDA3AF804}" type="pres">
      <dgm:prSet presAssocID="{CEEC8AAB-9D19-459C-9D28-7FE20FAB6B54}" presName="sibTrans" presStyleCnt="0"/>
      <dgm:spPr/>
    </dgm:pt>
    <dgm:pt modelId="{896CCADF-9B87-4BEA-84B8-873EF387CAA9}" type="pres">
      <dgm:prSet presAssocID="{18CBF0F8-C3ED-462F-93B4-30E1EA8F36B8}" presName="node" presStyleLbl="node1" presStyleIdx="2" presStyleCnt="7">
        <dgm:presLayoutVars>
          <dgm:bulletEnabled val="1"/>
        </dgm:presLayoutVars>
      </dgm:prSet>
      <dgm:spPr/>
    </dgm:pt>
    <dgm:pt modelId="{7E59B40E-72CD-4D04-A3CD-206BAEE8727D}" type="pres">
      <dgm:prSet presAssocID="{873EDB3D-5102-410C-B2D3-1554940098E6}" presName="sibTrans" presStyleCnt="0"/>
      <dgm:spPr/>
    </dgm:pt>
    <dgm:pt modelId="{E8078652-5337-42C9-804A-57C7F3F56EE6}" type="pres">
      <dgm:prSet presAssocID="{449C1DA1-4CC3-4627-BA47-C6B64EF95503}" presName="node" presStyleLbl="node1" presStyleIdx="3" presStyleCnt="7">
        <dgm:presLayoutVars>
          <dgm:bulletEnabled val="1"/>
        </dgm:presLayoutVars>
      </dgm:prSet>
      <dgm:spPr/>
    </dgm:pt>
    <dgm:pt modelId="{B6CD7A79-5586-43B6-AA00-6CB234DBB731}" type="pres">
      <dgm:prSet presAssocID="{48D1691C-C5F9-4CEA-BC34-E87C004C3FFA}" presName="sibTrans" presStyleCnt="0"/>
      <dgm:spPr/>
    </dgm:pt>
    <dgm:pt modelId="{73DC700F-520D-43E6-A443-3DE972355FC7}" type="pres">
      <dgm:prSet presAssocID="{3D3F66C1-D433-49A1-A72F-8F27E23CF01E}" presName="node" presStyleLbl="node1" presStyleIdx="4" presStyleCnt="7">
        <dgm:presLayoutVars>
          <dgm:bulletEnabled val="1"/>
        </dgm:presLayoutVars>
      </dgm:prSet>
      <dgm:spPr/>
    </dgm:pt>
    <dgm:pt modelId="{D7B38851-878C-46C0-A721-2EEE24E34D83}" type="pres">
      <dgm:prSet presAssocID="{13538619-C1C0-4ED6-983F-3F4BA6AB9E0D}" presName="sibTrans" presStyleCnt="0"/>
      <dgm:spPr/>
    </dgm:pt>
    <dgm:pt modelId="{C7444A67-E0E5-4031-BE1C-648D28EDD2AB}" type="pres">
      <dgm:prSet presAssocID="{1437824A-DE46-419F-B936-550A8C47ECBC}" presName="node" presStyleLbl="node1" presStyleIdx="5" presStyleCnt="7">
        <dgm:presLayoutVars>
          <dgm:bulletEnabled val="1"/>
        </dgm:presLayoutVars>
      </dgm:prSet>
      <dgm:spPr/>
    </dgm:pt>
    <dgm:pt modelId="{0C620E77-08E8-42A7-99B4-A7E116B49850}" type="pres">
      <dgm:prSet presAssocID="{D534D931-DABB-40EB-8BE4-F2B46478D90A}" presName="sibTrans" presStyleCnt="0"/>
      <dgm:spPr/>
    </dgm:pt>
    <dgm:pt modelId="{BD2CA06F-BAED-4302-B734-F141DAA7C752}" type="pres">
      <dgm:prSet presAssocID="{E8F351A9-2A34-415A-9448-381E0D19DE81}" presName="node" presStyleLbl="node1" presStyleIdx="6" presStyleCnt="7">
        <dgm:presLayoutVars>
          <dgm:bulletEnabled val="1"/>
        </dgm:presLayoutVars>
      </dgm:prSet>
      <dgm:spPr/>
    </dgm:pt>
  </dgm:ptLst>
  <dgm:cxnLst>
    <dgm:cxn modelId="{53FE5903-C9EF-4243-A9C2-610D40A75F65}" type="presOf" srcId="{18CBF0F8-C3ED-462F-93B4-30E1EA8F36B8}" destId="{896CCADF-9B87-4BEA-84B8-873EF387CAA9}" srcOrd="0" destOrd="0" presId="urn:microsoft.com/office/officeart/2005/8/layout/default"/>
    <dgm:cxn modelId="{96F6AC19-EC96-49EC-9C68-52A670E62A35}" srcId="{AAE9C169-F2AD-440A-B0CE-498903A6B0AD}" destId="{E8F351A9-2A34-415A-9448-381E0D19DE81}" srcOrd="6" destOrd="0" parTransId="{D2013216-1ED3-4972-B8BF-D9B07A8265C6}" sibTransId="{2482F0C4-FF3B-4CA0-AA11-07DF4748254A}"/>
    <dgm:cxn modelId="{399ADF5C-28F7-41D7-BCDE-C8ACBE21C434}" type="presOf" srcId="{1437824A-DE46-419F-B936-550A8C47ECBC}" destId="{C7444A67-E0E5-4031-BE1C-648D28EDD2AB}" srcOrd="0" destOrd="0" presId="urn:microsoft.com/office/officeart/2005/8/layout/default"/>
    <dgm:cxn modelId="{41C60649-B59D-4780-BBDF-0F00CFBC707E}" type="presOf" srcId="{449C1DA1-4CC3-4627-BA47-C6B64EF95503}" destId="{E8078652-5337-42C9-804A-57C7F3F56EE6}" srcOrd="0" destOrd="0" presId="urn:microsoft.com/office/officeart/2005/8/layout/default"/>
    <dgm:cxn modelId="{28090056-21EB-4821-82DD-EB20B9127610}" type="presOf" srcId="{AAE9C169-F2AD-440A-B0CE-498903A6B0AD}" destId="{BD4E1038-00C4-4B91-B368-BC887B3BB985}" srcOrd="0" destOrd="0" presId="urn:microsoft.com/office/officeart/2005/8/layout/default"/>
    <dgm:cxn modelId="{E602D079-6497-4C71-9446-731B0448B677}" srcId="{AAE9C169-F2AD-440A-B0CE-498903A6B0AD}" destId="{449C1DA1-4CC3-4627-BA47-C6B64EF95503}" srcOrd="3" destOrd="0" parTransId="{FE507149-3B4C-4185-993D-EAB574B0C0A5}" sibTransId="{48D1691C-C5F9-4CEA-BC34-E87C004C3FFA}"/>
    <dgm:cxn modelId="{89830786-D6FC-4386-8510-CB4EA84F5477}" type="presOf" srcId="{F1909255-E9BE-4C02-BE90-FDC1585EE3FA}" destId="{B75FB45F-8198-462D-A1D2-07BDACE94F78}" srcOrd="0" destOrd="0" presId="urn:microsoft.com/office/officeart/2005/8/layout/default"/>
    <dgm:cxn modelId="{96779695-FBA0-4E14-B715-D8AD391BA7BA}" srcId="{AAE9C169-F2AD-440A-B0CE-498903A6B0AD}" destId="{18CBF0F8-C3ED-462F-93B4-30E1EA8F36B8}" srcOrd="2" destOrd="0" parTransId="{4F69D25E-A5F3-464A-935C-805D27C582F8}" sibTransId="{873EDB3D-5102-410C-B2D3-1554940098E6}"/>
    <dgm:cxn modelId="{97CA5499-85FF-430B-9CCE-22DA97870BBC}" srcId="{AAE9C169-F2AD-440A-B0CE-498903A6B0AD}" destId="{1437824A-DE46-419F-B936-550A8C47ECBC}" srcOrd="5" destOrd="0" parTransId="{D1700861-D50D-43E8-8B9D-A7646EE8EC0C}" sibTransId="{D534D931-DABB-40EB-8BE4-F2B46478D90A}"/>
    <dgm:cxn modelId="{0AA0D49A-1DCF-4E4D-B189-E949726CB391}" srcId="{AAE9C169-F2AD-440A-B0CE-498903A6B0AD}" destId="{3D3F66C1-D433-49A1-A72F-8F27E23CF01E}" srcOrd="4" destOrd="0" parTransId="{24E166A9-CBE3-4137-A29F-8C8DA3EFD2A5}" sibTransId="{13538619-C1C0-4ED6-983F-3F4BA6AB9E0D}"/>
    <dgm:cxn modelId="{34CAC9A6-25D5-4414-B188-576F568C18FE}" srcId="{AAE9C169-F2AD-440A-B0CE-498903A6B0AD}" destId="{F1909255-E9BE-4C02-BE90-FDC1585EE3FA}" srcOrd="1" destOrd="0" parTransId="{1026186B-CF0F-4648-92AA-323DD4D1F5E7}" sibTransId="{CEEC8AAB-9D19-459C-9D28-7FE20FAB6B54}"/>
    <dgm:cxn modelId="{F4A1A9AD-C1A3-429C-8DFF-38E8EA9515FB}" type="presOf" srcId="{E8F351A9-2A34-415A-9448-381E0D19DE81}" destId="{BD2CA06F-BAED-4302-B734-F141DAA7C752}" srcOrd="0" destOrd="0" presId="urn:microsoft.com/office/officeart/2005/8/layout/default"/>
    <dgm:cxn modelId="{42584FB1-3CF4-44BC-A098-A98A5F0F2BDC}" type="presOf" srcId="{3D3F66C1-D433-49A1-A72F-8F27E23CF01E}" destId="{73DC700F-520D-43E6-A443-3DE972355FC7}" srcOrd="0" destOrd="0" presId="urn:microsoft.com/office/officeart/2005/8/layout/default"/>
    <dgm:cxn modelId="{65E6BEBB-E081-4E45-B5FD-2DEEE789F153}" type="presOf" srcId="{3F122AED-ED0A-47E2-82C0-5B94A037FFC4}" destId="{6406F465-EE62-4D3C-B9A1-F6A89DCA49C3}" srcOrd="0" destOrd="0" presId="urn:microsoft.com/office/officeart/2005/8/layout/default"/>
    <dgm:cxn modelId="{0F6DBBD6-C388-4160-A6B4-3A19590353D8}" srcId="{AAE9C169-F2AD-440A-B0CE-498903A6B0AD}" destId="{3F122AED-ED0A-47E2-82C0-5B94A037FFC4}" srcOrd="0" destOrd="0" parTransId="{415D0AA0-2A41-4CE3-B635-03B1D9A1CB47}" sibTransId="{097ADA35-7026-4437-B7BF-7A59C9E811B7}"/>
    <dgm:cxn modelId="{921348A4-973C-4500-9E75-F9DE636D99F3}" type="presParOf" srcId="{BD4E1038-00C4-4B91-B368-BC887B3BB985}" destId="{6406F465-EE62-4D3C-B9A1-F6A89DCA49C3}" srcOrd="0" destOrd="0" presId="urn:microsoft.com/office/officeart/2005/8/layout/default"/>
    <dgm:cxn modelId="{BED75648-B1D1-441E-A69A-BF75B3BB7856}" type="presParOf" srcId="{BD4E1038-00C4-4B91-B368-BC887B3BB985}" destId="{DA16D0A5-33CC-4156-8A91-4432F9554C55}" srcOrd="1" destOrd="0" presId="urn:microsoft.com/office/officeart/2005/8/layout/default"/>
    <dgm:cxn modelId="{B8282C20-C098-4AD3-91E0-C72A3B1635A2}" type="presParOf" srcId="{BD4E1038-00C4-4B91-B368-BC887B3BB985}" destId="{B75FB45F-8198-462D-A1D2-07BDACE94F78}" srcOrd="2" destOrd="0" presId="urn:microsoft.com/office/officeart/2005/8/layout/default"/>
    <dgm:cxn modelId="{B3D40886-15AB-49A2-948E-0084F5969DB5}" type="presParOf" srcId="{BD4E1038-00C4-4B91-B368-BC887B3BB985}" destId="{0AE0C032-FC0D-4C76-9682-4A4FDA3AF804}" srcOrd="3" destOrd="0" presId="urn:microsoft.com/office/officeart/2005/8/layout/default"/>
    <dgm:cxn modelId="{26A9D2F3-E6D1-4E14-8351-2A37AD817670}" type="presParOf" srcId="{BD4E1038-00C4-4B91-B368-BC887B3BB985}" destId="{896CCADF-9B87-4BEA-84B8-873EF387CAA9}" srcOrd="4" destOrd="0" presId="urn:microsoft.com/office/officeart/2005/8/layout/default"/>
    <dgm:cxn modelId="{F49B701E-50D7-4817-BBFF-6663F22863CE}" type="presParOf" srcId="{BD4E1038-00C4-4B91-B368-BC887B3BB985}" destId="{7E59B40E-72CD-4D04-A3CD-206BAEE8727D}" srcOrd="5" destOrd="0" presId="urn:microsoft.com/office/officeart/2005/8/layout/default"/>
    <dgm:cxn modelId="{52BFE770-6960-4088-A473-B9B6915D57CA}" type="presParOf" srcId="{BD4E1038-00C4-4B91-B368-BC887B3BB985}" destId="{E8078652-5337-42C9-804A-57C7F3F56EE6}" srcOrd="6" destOrd="0" presId="urn:microsoft.com/office/officeart/2005/8/layout/default"/>
    <dgm:cxn modelId="{ED46AA0A-8D4C-4F18-922F-946381E6CC4B}" type="presParOf" srcId="{BD4E1038-00C4-4B91-B368-BC887B3BB985}" destId="{B6CD7A79-5586-43B6-AA00-6CB234DBB731}" srcOrd="7" destOrd="0" presId="urn:microsoft.com/office/officeart/2005/8/layout/default"/>
    <dgm:cxn modelId="{416C480E-2061-4438-B6AB-71B67A59C20B}" type="presParOf" srcId="{BD4E1038-00C4-4B91-B368-BC887B3BB985}" destId="{73DC700F-520D-43E6-A443-3DE972355FC7}" srcOrd="8" destOrd="0" presId="urn:microsoft.com/office/officeart/2005/8/layout/default"/>
    <dgm:cxn modelId="{5D35BC88-1FAF-4C99-B6FB-EED0E532E134}" type="presParOf" srcId="{BD4E1038-00C4-4B91-B368-BC887B3BB985}" destId="{D7B38851-878C-46C0-A721-2EEE24E34D83}" srcOrd="9" destOrd="0" presId="urn:microsoft.com/office/officeart/2005/8/layout/default"/>
    <dgm:cxn modelId="{AA3C5F50-3B60-4C47-8A7D-78617AE14EB0}" type="presParOf" srcId="{BD4E1038-00C4-4B91-B368-BC887B3BB985}" destId="{C7444A67-E0E5-4031-BE1C-648D28EDD2AB}" srcOrd="10" destOrd="0" presId="urn:microsoft.com/office/officeart/2005/8/layout/default"/>
    <dgm:cxn modelId="{B7A77AD1-1864-4C05-9CCD-5F8287D1A41A}" type="presParOf" srcId="{BD4E1038-00C4-4B91-B368-BC887B3BB985}" destId="{0C620E77-08E8-42A7-99B4-A7E116B49850}" srcOrd="11" destOrd="0" presId="urn:microsoft.com/office/officeart/2005/8/layout/default"/>
    <dgm:cxn modelId="{BCB8AAB0-DA60-4B5F-B576-C7DE186D87EA}" type="presParOf" srcId="{BD4E1038-00C4-4B91-B368-BC887B3BB985}" destId="{BD2CA06F-BAED-4302-B734-F141DAA7C752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E25332B-8BC6-4783-8525-14A73362DF35}" type="doc">
      <dgm:prSet loTypeId="urn:microsoft.com/office/officeart/2005/8/layout/default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FEDAB87-4664-4D2B-88A9-5809FC7BFDE3}">
      <dgm:prSet phldrT="[Text]" custT="1"/>
      <dgm:spPr>
        <a:ln>
          <a:extLst>
            <a:ext uri="{C807C97D-BFC1-408E-A445-0C87EB9F89A2}">
              <ask:lineSketchStyleProps xmlns:ask="http://schemas.microsoft.com/office/drawing/2018/sketchyshapes">
                <ask:type>
                  <ask:lineSketchCurved/>
                </ask:type>
              </ask:lineSketchStyleProps>
            </a:ext>
          </a:extLst>
        </a:ln>
      </dgm:spPr>
      <dgm:t>
        <a:bodyPr/>
        <a:lstStyle/>
        <a:p>
          <a:r>
            <a:rPr lang="en-US" sz="1800" b="1" dirty="0">
              <a:solidFill>
                <a:schemeClr val="bg1"/>
              </a:solidFill>
            </a:rPr>
            <a:t>Shutdown or Reboot</a:t>
          </a:r>
        </a:p>
      </dgm:t>
    </dgm:pt>
    <dgm:pt modelId="{A714BE16-2382-47E1-9CCC-007ADDE1371C}" type="parTrans" cxnId="{4AC8E610-C0F4-46A6-8D5F-887FAF5321A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AA16457-FA90-4053-B0AE-A20E784E281C}" type="sibTrans" cxnId="{4AC8E610-C0F4-46A6-8D5F-887FAF5321A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D4374B5-513F-4B1A-A272-61E505190BCF}">
      <dgm:prSet phldrT="[Text]"/>
      <dgm:spPr>
        <a:ln>
          <a:extLst>
            <a:ext uri="{C807C97D-BFC1-408E-A445-0C87EB9F89A2}">
              <ask:lineSketchStyleProps xmlns:ask="http://schemas.microsoft.com/office/drawing/2018/sketchyshapes">
                <ask:type>
                  <ask:lineSketchCurved/>
                </ask:type>
              </ask:lineSketchStyleProps>
            </a:ext>
          </a:extLst>
        </a:ln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Mistakes</a:t>
          </a:r>
        </a:p>
      </dgm:t>
    </dgm:pt>
    <dgm:pt modelId="{43535890-9FBC-46FC-BDB2-5EB2E8818612}" type="parTrans" cxnId="{BAAF660A-4BBB-49D2-B036-F97B5CD0BE00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4F4912A-4D1A-4A24-AF9A-5DF507F8E47A}" type="sibTrans" cxnId="{BAAF660A-4BBB-49D2-B036-F97B5CD0BE00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93618AD4-84BF-4D53-86DD-615D774AA66C}">
      <dgm:prSet phldrT="[Text]" custT="1"/>
      <dgm:spPr>
        <a:ln>
          <a:extLst>
            <a:ext uri="{C807C97D-BFC1-408E-A445-0C87EB9F89A2}">
              <ask:lineSketchStyleProps xmlns:ask="http://schemas.microsoft.com/office/drawing/2018/sketchyshapes">
                <ask:type>
                  <ask:lineSketchCurved/>
                </ask:type>
              </ask:lineSketchStyleProps>
            </a:ext>
          </a:extLst>
        </a:ln>
      </dgm:spPr>
      <dgm:t>
        <a:bodyPr/>
        <a:lstStyle/>
        <a:p>
          <a:r>
            <a:rPr lang="en-US" sz="1800" b="1" dirty="0">
              <a:solidFill>
                <a:schemeClr val="bg1"/>
              </a:solidFill>
            </a:rPr>
            <a:t>Reliable or Usable Components of Computers</a:t>
          </a:r>
        </a:p>
      </dgm:t>
    </dgm:pt>
    <dgm:pt modelId="{26E2C3DB-1B3D-4084-BA0F-920B4EDC7198}" type="parTrans" cxnId="{FD136E93-EEB2-4775-8C0C-1DF515094CD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EEC01FB-332B-44F7-AC0F-8BF27AED92F3}" type="sibTrans" cxnId="{FD136E93-EEB2-4775-8C0C-1DF515094CDE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E45070D-38CD-40F2-843A-65AED2ACAB25}">
      <dgm:prSet phldrT="[Text]" custT="1"/>
      <dgm:spPr>
        <a:ln>
          <a:extLst>
            <a:ext uri="{C807C97D-BFC1-408E-A445-0C87EB9F89A2}">
              <ask:lineSketchStyleProps xmlns:ask="http://schemas.microsoft.com/office/drawing/2018/sketchyshapes">
                <ask:type>
                  <ask:lineSketchCurved/>
                </ask:type>
              </ask:lineSketchStyleProps>
            </a:ext>
          </a:extLst>
        </a:ln>
      </dgm:spPr>
      <dgm:t>
        <a:bodyPr/>
        <a:lstStyle/>
        <a:p>
          <a:r>
            <a:rPr lang="en-US" sz="1800" b="1" dirty="0">
              <a:solidFill>
                <a:schemeClr val="bg1"/>
              </a:solidFill>
            </a:rPr>
            <a:t>Not Have Access to Computer Documentation</a:t>
          </a:r>
        </a:p>
      </dgm:t>
    </dgm:pt>
    <dgm:pt modelId="{1521156E-3547-4095-8135-80DEBB0734BB}" type="parTrans" cxnId="{63CAD130-DCE8-43E1-9E4A-A223E84CD98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0E430D2-C5AA-4D02-BD07-3A33DFC4F38A}" type="sibTrans" cxnId="{63CAD130-DCE8-43E1-9E4A-A223E84CD98C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1D8F7A1-782D-45F1-8CD3-54CAC78627DC}">
      <dgm:prSet phldrT="[Text]" custT="1"/>
      <dgm:spPr>
        <a:ln>
          <a:extLst>
            <a:ext uri="{C807C97D-BFC1-408E-A445-0C87EB9F89A2}">
              <ask:lineSketchStyleProps xmlns:ask="http://schemas.microsoft.com/office/drawing/2018/sketchyshapes">
                <ask:type>
                  <ask:lineSketchCurved/>
                </ask:type>
              </ask:lineSketchStyleProps>
            </a:ext>
          </a:extLst>
        </a:ln>
      </dgm:spPr>
      <dgm:t>
        <a:bodyPr/>
        <a:lstStyle/>
        <a:p>
          <a:r>
            <a:rPr lang="en-US" sz="1800" b="1" dirty="0">
              <a:solidFill>
                <a:schemeClr val="bg1"/>
              </a:solidFill>
            </a:rPr>
            <a:t>Fail to Document or Data Collection</a:t>
          </a:r>
        </a:p>
      </dgm:t>
    </dgm:pt>
    <dgm:pt modelId="{1449EFB5-B82D-4068-B104-000BDC6BC8D3}" type="parTrans" cxnId="{2A59D901-4F50-418B-9DE1-E048335D819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95C617C7-8237-44DF-B7D7-4D9F93D60029}" type="sibTrans" cxnId="{2A59D901-4F50-418B-9DE1-E048335D819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6AADCE0-26AE-4900-A2A8-2678F428EEDF}" type="pres">
      <dgm:prSet presAssocID="{0E25332B-8BC6-4783-8525-14A73362DF35}" presName="diagram" presStyleCnt="0">
        <dgm:presLayoutVars>
          <dgm:dir/>
          <dgm:resizeHandles val="exact"/>
        </dgm:presLayoutVars>
      </dgm:prSet>
      <dgm:spPr/>
    </dgm:pt>
    <dgm:pt modelId="{294B93A2-987E-4C4F-9892-C9196639FE86}" type="pres">
      <dgm:prSet presAssocID="{DD4374B5-513F-4B1A-A272-61E505190BCF}" presName="node" presStyleLbl="node1" presStyleIdx="0" presStyleCnt="1">
        <dgm:presLayoutVars>
          <dgm:bulletEnabled val="1"/>
        </dgm:presLayoutVars>
      </dgm:prSet>
      <dgm:spPr/>
    </dgm:pt>
  </dgm:ptLst>
  <dgm:cxnLst>
    <dgm:cxn modelId="{2A59D901-4F50-418B-9DE1-E048335D8191}" srcId="{DD4374B5-513F-4B1A-A272-61E505190BCF}" destId="{51D8F7A1-782D-45F1-8CD3-54CAC78627DC}" srcOrd="3" destOrd="0" parTransId="{1449EFB5-B82D-4068-B104-000BDC6BC8D3}" sibTransId="{95C617C7-8237-44DF-B7D7-4D9F93D60029}"/>
    <dgm:cxn modelId="{BAAF660A-4BBB-49D2-B036-F97B5CD0BE00}" srcId="{0E25332B-8BC6-4783-8525-14A73362DF35}" destId="{DD4374B5-513F-4B1A-A272-61E505190BCF}" srcOrd="0" destOrd="0" parTransId="{43535890-9FBC-46FC-BDB2-5EB2E8818612}" sibTransId="{44F4912A-4D1A-4A24-AF9A-5DF507F8E47A}"/>
    <dgm:cxn modelId="{4AC8E610-C0F4-46A6-8D5F-887FAF5321AE}" srcId="{DD4374B5-513F-4B1A-A272-61E505190BCF}" destId="{1FEDAB87-4664-4D2B-88A9-5809FC7BFDE3}" srcOrd="0" destOrd="0" parTransId="{A714BE16-2382-47E1-9CCC-007ADDE1371C}" sibTransId="{2AA16457-FA90-4053-B0AE-A20E784E281C}"/>
    <dgm:cxn modelId="{DEC71622-F64F-41B2-95E5-6B1FF40AC584}" type="presOf" srcId="{1FEDAB87-4664-4D2B-88A9-5809FC7BFDE3}" destId="{294B93A2-987E-4C4F-9892-C9196639FE86}" srcOrd="0" destOrd="1" presId="urn:microsoft.com/office/officeart/2005/8/layout/default"/>
    <dgm:cxn modelId="{63CAD130-DCE8-43E1-9E4A-A223E84CD98C}" srcId="{DD4374B5-513F-4B1A-A272-61E505190BCF}" destId="{2E45070D-38CD-40F2-843A-65AED2ACAB25}" srcOrd="2" destOrd="0" parTransId="{1521156E-3547-4095-8135-80DEBB0734BB}" sibTransId="{60E430D2-C5AA-4D02-BD07-3A33DFC4F38A}"/>
    <dgm:cxn modelId="{FD136E93-EEB2-4775-8C0C-1DF515094CDE}" srcId="{DD4374B5-513F-4B1A-A272-61E505190BCF}" destId="{93618AD4-84BF-4D53-86DD-615D774AA66C}" srcOrd="1" destOrd="0" parTransId="{26E2C3DB-1B3D-4084-BA0F-920B4EDC7198}" sibTransId="{6EEC01FB-332B-44F7-AC0F-8BF27AED92F3}"/>
    <dgm:cxn modelId="{51420BB4-FD9A-4D05-9F83-E52696F11ADC}" type="presOf" srcId="{DD4374B5-513F-4B1A-A272-61E505190BCF}" destId="{294B93A2-987E-4C4F-9892-C9196639FE86}" srcOrd="0" destOrd="0" presId="urn:microsoft.com/office/officeart/2005/8/layout/default"/>
    <dgm:cxn modelId="{12BF02C1-48A1-47C2-9A6D-209E5D70CDA3}" type="presOf" srcId="{2E45070D-38CD-40F2-843A-65AED2ACAB25}" destId="{294B93A2-987E-4C4F-9892-C9196639FE86}" srcOrd="0" destOrd="3" presId="urn:microsoft.com/office/officeart/2005/8/layout/default"/>
    <dgm:cxn modelId="{4E5984CB-133D-43AA-84F9-057D11E3C662}" type="presOf" srcId="{93618AD4-84BF-4D53-86DD-615D774AA66C}" destId="{294B93A2-987E-4C4F-9892-C9196639FE86}" srcOrd="0" destOrd="2" presId="urn:microsoft.com/office/officeart/2005/8/layout/default"/>
    <dgm:cxn modelId="{19848EEB-9D37-46DA-AAC9-EA5932562CE0}" type="presOf" srcId="{0E25332B-8BC6-4783-8525-14A73362DF35}" destId="{06AADCE0-26AE-4900-A2A8-2678F428EEDF}" srcOrd="0" destOrd="0" presId="urn:microsoft.com/office/officeart/2005/8/layout/default"/>
    <dgm:cxn modelId="{360AB6F6-474D-4EBF-B2D8-3D66586950A8}" type="presOf" srcId="{51D8F7A1-782D-45F1-8CD3-54CAC78627DC}" destId="{294B93A2-987E-4C4F-9892-C9196639FE86}" srcOrd="0" destOrd="4" presId="urn:microsoft.com/office/officeart/2005/8/layout/default"/>
    <dgm:cxn modelId="{A4992879-3908-44C3-9778-CA2F0C131661}" type="presParOf" srcId="{06AADCE0-26AE-4900-A2A8-2678F428EEDF}" destId="{294B93A2-987E-4C4F-9892-C9196639FE86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4AC7D0A2-7FA2-42B9-800C-4AA94AD4E94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9F73745-6CDF-43A6-87C6-E5CEBC15F005}">
      <dgm:prSet phldrT="[Text]"/>
      <dgm:spPr/>
      <dgm:t>
        <a:bodyPr/>
        <a:lstStyle/>
        <a:p>
          <a:r>
            <a:rPr lang="en-US" dirty="0"/>
            <a:t>Photographer</a:t>
          </a:r>
        </a:p>
      </dgm:t>
    </dgm:pt>
    <dgm:pt modelId="{37DB5786-44B2-442F-822B-6B1CFAA03CF3}" type="parTrans" cxnId="{82392141-3B42-42ED-913B-4D93CE3417CF}">
      <dgm:prSet/>
      <dgm:spPr/>
      <dgm:t>
        <a:bodyPr/>
        <a:lstStyle/>
        <a:p>
          <a:endParaRPr lang="en-US"/>
        </a:p>
      </dgm:t>
    </dgm:pt>
    <dgm:pt modelId="{C6F46281-2BF8-4901-925A-FB093D633225}" type="sibTrans" cxnId="{82392141-3B42-42ED-913B-4D93CE3417CF}">
      <dgm:prSet/>
      <dgm:spPr/>
      <dgm:t>
        <a:bodyPr/>
        <a:lstStyle/>
        <a:p>
          <a:endParaRPr lang="en-US"/>
        </a:p>
      </dgm:t>
    </dgm:pt>
    <dgm:pt modelId="{4BCA4279-40E7-4605-ADA2-33B720168877}">
      <dgm:prSet phldrT="[Text]"/>
      <dgm:spPr/>
      <dgm:t>
        <a:bodyPr/>
        <a:lstStyle/>
        <a:p>
          <a:r>
            <a:rPr lang="en-US" dirty="0"/>
            <a:t>Incident Responder</a:t>
          </a:r>
        </a:p>
      </dgm:t>
    </dgm:pt>
    <dgm:pt modelId="{AA018FB6-4C4F-456E-BFE7-438F7AB6A0EA}" type="parTrans" cxnId="{A2CB3440-1A27-434C-855E-5E1C21E6C4B2}">
      <dgm:prSet/>
      <dgm:spPr/>
      <dgm:t>
        <a:bodyPr/>
        <a:lstStyle/>
        <a:p>
          <a:endParaRPr lang="en-US"/>
        </a:p>
      </dgm:t>
    </dgm:pt>
    <dgm:pt modelId="{B575B532-B06F-4304-9501-91E7B6E55594}" type="sibTrans" cxnId="{A2CB3440-1A27-434C-855E-5E1C21E6C4B2}">
      <dgm:prSet/>
      <dgm:spPr/>
      <dgm:t>
        <a:bodyPr/>
        <a:lstStyle/>
        <a:p>
          <a:endParaRPr lang="en-US"/>
        </a:p>
      </dgm:t>
    </dgm:pt>
    <dgm:pt modelId="{941D548A-36DC-424F-A625-06D25BEFC5AE}">
      <dgm:prSet phldrT="[Text]"/>
      <dgm:spPr/>
      <dgm:t>
        <a:bodyPr/>
        <a:lstStyle/>
        <a:p>
          <a:r>
            <a:rPr lang="en-US" dirty="0"/>
            <a:t>Incident Analyzer</a:t>
          </a:r>
        </a:p>
      </dgm:t>
    </dgm:pt>
    <dgm:pt modelId="{3AA82BDA-9947-4780-9850-5B854CE2AD87}" type="parTrans" cxnId="{31536A2C-C198-4A91-B65D-769078A56ACF}">
      <dgm:prSet/>
      <dgm:spPr/>
      <dgm:t>
        <a:bodyPr/>
        <a:lstStyle/>
        <a:p>
          <a:endParaRPr lang="en-US"/>
        </a:p>
      </dgm:t>
    </dgm:pt>
    <dgm:pt modelId="{7EB29B12-5ED9-4E78-A79A-6B7DCC1D2559}" type="sibTrans" cxnId="{31536A2C-C198-4A91-B65D-769078A56ACF}">
      <dgm:prSet/>
      <dgm:spPr/>
      <dgm:t>
        <a:bodyPr/>
        <a:lstStyle/>
        <a:p>
          <a:endParaRPr lang="en-US"/>
        </a:p>
      </dgm:t>
    </dgm:pt>
    <dgm:pt modelId="{B699DECC-C977-4352-A333-BB8059ADC506}">
      <dgm:prSet phldrT="[Text]"/>
      <dgm:spPr/>
      <dgm:t>
        <a:bodyPr/>
        <a:lstStyle/>
        <a:p>
          <a:r>
            <a:rPr lang="en-US" dirty="0"/>
            <a:t>Evidence Examiner</a:t>
          </a:r>
        </a:p>
      </dgm:t>
    </dgm:pt>
    <dgm:pt modelId="{469A64C4-5354-4FE2-BB40-AB622BE2F682}" type="parTrans" cxnId="{76FB353B-18EF-4B05-86DD-339FE5333DF8}">
      <dgm:prSet/>
      <dgm:spPr/>
      <dgm:t>
        <a:bodyPr/>
        <a:lstStyle/>
        <a:p>
          <a:endParaRPr lang="en-US"/>
        </a:p>
      </dgm:t>
    </dgm:pt>
    <dgm:pt modelId="{F3BA4C68-5E40-4680-94EE-92EF09D5D5B6}" type="sibTrans" cxnId="{76FB353B-18EF-4B05-86DD-339FE5333DF8}">
      <dgm:prSet/>
      <dgm:spPr/>
      <dgm:t>
        <a:bodyPr/>
        <a:lstStyle/>
        <a:p>
          <a:endParaRPr lang="en-US"/>
        </a:p>
      </dgm:t>
    </dgm:pt>
    <dgm:pt modelId="{D319D212-E0D7-4348-BE1B-193C0207E96C}">
      <dgm:prSet phldrT="[Text]"/>
      <dgm:spPr/>
      <dgm:t>
        <a:bodyPr/>
        <a:lstStyle/>
        <a:p>
          <a:r>
            <a:rPr lang="en-US" dirty="0"/>
            <a:t>Evidence Documenter</a:t>
          </a:r>
        </a:p>
      </dgm:t>
    </dgm:pt>
    <dgm:pt modelId="{438F6585-D79C-4404-9E1C-C5581655F5B0}" type="parTrans" cxnId="{336CA854-1477-4CAA-A967-B56F2AEF6CFC}">
      <dgm:prSet/>
      <dgm:spPr/>
      <dgm:t>
        <a:bodyPr/>
        <a:lstStyle/>
        <a:p>
          <a:endParaRPr lang="en-US"/>
        </a:p>
      </dgm:t>
    </dgm:pt>
    <dgm:pt modelId="{2DBB824A-ED99-438B-927E-9F4B0CB99947}" type="sibTrans" cxnId="{336CA854-1477-4CAA-A967-B56F2AEF6CFC}">
      <dgm:prSet/>
      <dgm:spPr/>
      <dgm:t>
        <a:bodyPr/>
        <a:lstStyle/>
        <a:p>
          <a:endParaRPr lang="en-US"/>
        </a:p>
      </dgm:t>
    </dgm:pt>
    <dgm:pt modelId="{DE69E921-F41A-4C4C-9235-AC8D56D98373}">
      <dgm:prSet phldrT="[Text]"/>
      <dgm:spPr/>
      <dgm:t>
        <a:bodyPr/>
        <a:lstStyle/>
        <a:p>
          <a:r>
            <a:rPr lang="en-US" dirty="0"/>
            <a:t>Evidence Manager</a:t>
          </a:r>
        </a:p>
      </dgm:t>
    </dgm:pt>
    <dgm:pt modelId="{ED485F4F-D847-4CD2-AFEB-8C416ED65C0A}" type="parTrans" cxnId="{403C8310-AA12-4959-9410-668ACEEA7529}">
      <dgm:prSet/>
      <dgm:spPr/>
      <dgm:t>
        <a:bodyPr/>
        <a:lstStyle/>
        <a:p>
          <a:endParaRPr lang="en-US"/>
        </a:p>
      </dgm:t>
    </dgm:pt>
    <dgm:pt modelId="{FA090C72-71E9-4D26-8D6E-1C091F68B5F7}" type="sibTrans" cxnId="{403C8310-AA12-4959-9410-668ACEEA7529}">
      <dgm:prSet/>
      <dgm:spPr/>
      <dgm:t>
        <a:bodyPr/>
        <a:lstStyle/>
        <a:p>
          <a:endParaRPr lang="en-US"/>
        </a:p>
      </dgm:t>
    </dgm:pt>
    <dgm:pt modelId="{CAC7F611-8392-45ED-9770-800426B6ECDC}">
      <dgm:prSet phldrT="[Text]"/>
      <dgm:spPr/>
      <dgm:t>
        <a:bodyPr/>
        <a:lstStyle/>
        <a:p>
          <a:r>
            <a:rPr lang="en-US" dirty="0"/>
            <a:t>Evidence Witness</a:t>
          </a:r>
        </a:p>
      </dgm:t>
    </dgm:pt>
    <dgm:pt modelId="{9F5953CD-64A3-4A3C-88DA-716A17195610}" type="parTrans" cxnId="{21BC6B73-A419-4727-8FC0-6B7AC83BACD4}">
      <dgm:prSet/>
      <dgm:spPr/>
      <dgm:t>
        <a:bodyPr/>
        <a:lstStyle/>
        <a:p>
          <a:endParaRPr lang="en-US"/>
        </a:p>
      </dgm:t>
    </dgm:pt>
    <dgm:pt modelId="{72863BAC-52B3-42D7-9421-AC346EC6409D}" type="sibTrans" cxnId="{21BC6B73-A419-4727-8FC0-6B7AC83BACD4}">
      <dgm:prSet/>
      <dgm:spPr/>
      <dgm:t>
        <a:bodyPr/>
        <a:lstStyle/>
        <a:p>
          <a:endParaRPr lang="en-US"/>
        </a:p>
      </dgm:t>
    </dgm:pt>
    <dgm:pt modelId="{87F18841-A510-4071-9B7A-E98C73864692}">
      <dgm:prSet phldrT="[Text]"/>
      <dgm:spPr/>
      <dgm:t>
        <a:bodyPr/>
        <a:lstStyle/>
        <a:p>
          <a:r>
            <a:rPr lang="en-US" dirty="0"/>
            <a:t>Attorney</a:t>
          </a:r>
        </a:p>
      </dgm:t>
    </dgm:pt>
    <dgm:pt modelId="{196F05C9-33AA-4747-9FCB-01D8FF0E3AA9}" type="parTrans" cxnId="{F80CBE18-968C-4FBD-84C3-C28FCD5E48F7}">
      <dgm:prSet/>
      <dgm:spPr/>
      <dgm:t>
        <a:bodyPr/>
        <a:lstStyle/>
        <a:p>
          <a:endParaRPr lang="en-US"/>
        </a:p>
      </dgm:t>
    </dgm:pt>
    <dgm:pt modelId="{64B359FA-E979-413A-836C-C94156703FD8}" type="sibTrans" cxnId="{F80CBE18-968C-4FBD-84C3-C28FCD5E48F7}">
      <dgm:prSet/>
      <dgm:spPr/>
      <dgm:t>
        <a:bodyPr/>
        <a:lstStyle/>
        <a:p>
          <a:endParaRPr lang="en-US"/>
        </a:p>
      </dgm:t>
    </dgm:pt>
    <dgm:pt modelId="{5A73D11F-04AE-4805-8763-A51B1310F8B2}" type="pres">
      <dgm:prSet presAssocID="{4AC7D0A2-7FA2-42B9-800C-4AA94AD4E94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9759369-9351-45AD-A7F1-49AFB72C0DC8}" type="pres">
      <dgm:prSet presAssocID="{09F73745-6CDF-43A6-87C6-E5CEBC15F005}" presName="hierRoot1" presStyleCnt="0">
        <dgm:presLayoutVars>
          <dgm:hierBranch val="init"/>
        </dgm:presLayoutVars>
      </dgm:prSet>
      <dgm:spPr/>
    </dgm:pt>
    <dgm:pt modelId="{89535653-EA4E-4F4F-8492-CDFEB5C41A7A}" type="pres">
      <dgm:prSet presAssocID="{09F73745-6CDF-43A6-87C6-E5CEBC15F005}" presName="rootComposite1" presStyleCnt="0"/>
      <dgm:spPr/>
    </dgm:pt>
    <dgm:pt modelId="{EB202B4B-D3F9-4E3C-B2CC-1F6BE435CB83}" type="pres">
      <dgm:prSet presAssocID="{09F73745-6CDF-43A6-87C6-E5CEBC15F005}" presName="rootText1" presStyleLbl="node0" presStyleIdx="0" presStyleCnt="8">
        <dgm:presLayoutVars>
          <dgm:chPref val="3"/>
        </dgm:presLayoutVars>
      </dgm:prSet>
      <dgm:spPr/>
    </dgm:pt>
    <dgm:pt modelId="{DF57950E-4E62-4A2B-8800-F2D63AF37C62}" type="pres">
      <dgm:prSet presAssocID="{09F73745-6CDF-43A6-87C6-E5CEBC15F005}" presName="rootConnector1" presStyleLbl="node1" presStyleIdx="0" presStyleCnt="0"/>
      <dgm:spPr/>
    </dgm:pt>
    <dgm:pt modelId="{D54C6AC2-9978-4846-894C-5DFAFC57094F}" type="pres">
      <dgm:prSet presAssocID="{09F73745-6CDF-43A6-87C6-E5CEBC15F005}" presName="hierChild2" presStyleCnt="0"/>
      <dgm:spPr/>
    </dgm:pt>
    <dgm:pt modelId="{B1359702-7C65-46FC-B808-A1966FE8AD83}" type="pres">
      <dgm:prSet presAssocID="{09F73745-6CDF-43A6-87C6-E5CEBC15F005}" presName="hierChild3" presStyleCnt="0"/>
      <dgm:spPr/>
    </dgm:pt>
    <dgm:pt modelId="{085B073B-69CA-48EA-A7B0-9DC6DAD50B48}" type="pres">
      <dgm:prSet presAssocID="{4BCA4279-40E7-4605-ADA2-33B720168877}" presName="hierRoot1" presStyleCnt="0">
        <dgm:presLayoutVars>
          <dgm:hierBranch val="init"/>
        </dgm:presLayoutVars>
      </dgm:prSet>
      <dgm:spPr/>
    </dgm:pt>
    <dgm:pt modelId="{BAFA1DCF-BAB1-40BC-BB1D-82F853222FC3}" type="pres">
      <dgm:prSet presAssocID="{4BCA4279-40E7-4605-ADA2-33B720168877}" presName="rootComposite1" presStyleCnt="0"/>
      <dgm:spPr/>
    </dgm:pt>
    <dgm:pt modelId="{0D3D5D96-76A1-4575-9D56-27BEFA35F07B}" type="pres">
      <dgm:prSet presAssocID="{4BCA4279-40E7-4605-ADA2-33B720168877}" presName="rootText1" presStyleLbl="node0" presStyleIdx="1" presStyleCnt="8">
        <dgm:presLayoutVars>
          <dgm:chPref val="3"/>
        </dgm:presLayoutVars>
      </dgm:prSet>
      <dgm:spPr/>
    </dgm:pt>
    <dgm:pt modelId="{C24007E6-14E7-40E3-A2D9-32F374057585}" type="pres">
      <dgm:prSet presAssocID="{4BCA4279-40E7-4605-ADA2-33B720168877}" presName="rootConnector1" presStyleLbl="node1" presStyleIdx="0" presStyleCnt="0"/>
      <dgm:spPr/>
    </dgm:pt>
    <dgm:pt modelId="{1CF60339-D856-4DBD-BB38-3DD77E0EAD8F}" type="pres">
      <dgm:prSet presAssocID="{4BCA4279-40E7-4605-ADA2-33B720168877}" presName="hierChild2" presStyleCnt="0"/>
      <dgm:spPr/>
    </dgm:pt>
    <dgm:pt modelId="{A692A1CE-FDE3-47FE-B369-D681342FB538}" type="pres">
      <dgm:prSet presAssocID="{4BCA4279-40E7-4605-ADA2-33B720168877}" presName="hierChild3" presStyleCnt="0"/>
      <dgm:spPr/>
    </dgm:pt>
    <dgm:pt modelId="{6F5C6372-0FF6-4B26-8AC2-C1AA3D2408FC}" type="pres">
      <dgm:prSet presAssocID="{941D548A-36DC-424F-A625-06D25BEFC5AE}" presName="hierRoot1" presStyleCnt="0">
        <dgm:presLayoutVars>
          <dgm:hierBranch val="init"/>
        </dgm:presLayoutVars>
      </dgm:prSet>
      <dgm:spPr/>
    </dgm:pt>
    <dgm:pt modelId="{DA5EB55E-EEB2-46C6-A8FE-B6FB3D5DBFC6}" type="pres">
      <dgm:prSet presAssocID="{941D548A-36DC-424F-A625-06D25BEFC5AE}" presName="rootComposite1" presStyleCnt="0"/>
      <dgm:spPr/>
    </dgm:pt>
    <dgm:pt modelId="{9DF8B708-70C5-473F-BDCA-29572D154352}" type="pres">
      <dgm:prSet presAssocID="{941D548A-36DC-424F-A625-06D25BEFC5AE}" presName="rootText1" presStyleLbl="node0" presStyleIdx="2" presStyleCnt="8">
        <dgm:presLayoutVars>
          <dgm:chPref val="3"/>
        </dgm:presLayoutVars>
      </dgm:prSet>
      <dgm:spPr/>
    </dgm:pt>
    <dgm:pt modelId="{B37A89F8-E424-4421-A9F0-30BBDE4670E6}" type="pres">
      <dgm:prSet presAssocID="{941D548A-36DC-424F-A625-06D25BEFC5AE}" presName="rootConnector1" presStyleLbl="node1" presStyleIdx="0" presStyleCnt="0"/>
      <dgm:spPr/>
    </dgm:pt>
    <dgm:pt modelId="{90EAF175-059B-47DE-A71D-B6698C667E02}" type="pres">
      <dgm:prSet presAssocID="{941D548A-36DC-424F-A625-06D25BEFC5AE}" presName="hierChild2" presStyleCnt="0"/>
      <dgm:spPr/>
    </dgm:pt>
    <dgm:pt modelId="{1103A3E2-ED39-40D8-B06B-F800FA0FA732}" type="pres">
      <dgm:prSet presAssocID="{941D548A-36DC-424F-A625-06D25BEFC5AE}" presName="hierChild3" presStyleCnt="0"/>
      <dgm:spPr/>
    </dgm:pt>
    <dgm:pt modelId="{93C847F4-D564-4458-813B-1B83B80B3DAF}" type="pres">
      <dgm:prSet presAssocID="{B699DECC-C977-4352-A333-BB8059ADC506}" presName="hierRoot1" presStyleCnt="0">
        <dgm:presLayoutVars>
          <dgm:hierBranch val="init"/>
        </dgm:presLayoutVars>
      </dgm:prSet>
      <dgm:spPr/>
    </dgm:pt>
    <dgm:pt modelId="{B75A125F-ABFC-4EE8-8BAE-34B030A2B571}" type="pres">
      <dgm:prSet presAssocID="{B699DECC-C977-4352-A333-BB8059ADC506}" presName="rootComposite1" presStyleCnt="0"/>
      <dgm:spPr/>
    </dgm:pt>
    <dgm:pt modelId="{0339D574-497F-4CBF-A1A6-F8F98EFE60A2}" type="pres">
      <dgm:prSet presAssocID="{B699DECC-C977-4352-A333-BB8059ADC506}" presName="rootText1" presStyleLbl="node0" presStyleIdx="3" presStyleCnt="8">
        <dgm:presLayoutVars>
          <dgm:chPref val="3"/>
        </dgm:presLayoutVars>
      </dgm:prSet>
      <dgm:spPr/>
    </dgm:pt>
    <dgm:pt modelId="{0FD2965D-F3BB-47EE-AE49-33DADF45B306}" type="pres">
      <dgm:prSet presAssocID="{B699DECC-C977-4352-A333-BB8059ADC506}" presName="rootConnector1" presStyleLbl="node1" presStyleIdx="0" presStyleCnt="0"/>
      <dgm:spPr/>
    </dgm:pt>
    <dgm:pt modelId="{58DA2AB1-ECB3-4CE3-ADB0-95AC8C017917}" type="pres">
      <dgm:prSet presAssocID="{B699DECC-C977-4352-A333-BB8059ADC506}" presName="hierChild2" presStyleCnt="0"/>
      <dgm:spPr/>
    </dgm:pt>
    <dgm:pt modelId="{DEC54837-0987-495C-AC7F-42FB9E87F128}" type="pres">
      <dgm:prSet presAssocID="{B699DECC-C977-4352-A333-BB8059ADC506}" presName="hierChild3" presStyleCnt="0"/>
      <dgm:spPr/>
    </dgm:pt>
    <dgm:pt modelId="{C5594696-6C77-4617-A6F7-E92F4BCB7AF1}" type="pres">
      <dgm:prSet presAssocID="{D319D212-E0D7-4348-BE1B-193C0207E96C}" presName="hierRoot1" presStyleCnt="0">
        <dgm:presLayoutVars>
          <dgm:hierBranch val="init"/>
        </dgm:presLayoutVars>
      </dgm:prSet>
      <dgm:spPr/>
    </dgm:pt>
    <dgm:pt modelId="{4B6BC26F-A965-4B55-ADDE-905C4A58FA5C}" type="pres">
      <dgm:prSet presAssocID="{D319D212-E0D7-4348-BE1B-193C0207E96C}" presName="rootComposite1" presStyleCnt="0"/>
      <dgm:spPr/>
    </dgm:pt>
    <dgm:pt modelId="{15183B0B-FA8D-45B0-9B30-DA93B8E35B10}" type="pres">
      <dgm:prSet presAssocID="{D319D212-E0D7-4348-BE1B-193C0207E96C}" presName="rootText1" presStyleLbl="node0" presStyleIdx="4" presStyleCnt="8">
        <dgm:presLayoutVars>
          <dgm:chPref val="3"/>
        </dgm:presLayoutVars>
      </dgm:prSet>
      <dgm:spPr/>
    </dgm:pt>
    <dgm:pt modelId="{D6F55D47-2CB9-455D-BB76-646D9093D101}" type="pres">
      <dgm:prSet presAssocID="{D319D212-E0D7-4348-BE1B-193C0207E96C}" presName="rootConnector1" presStyleLbl="node1" presStyleIdx="0" presStyleCnt="0"/>
      <dgm:spPr/>
    </dgm:pt>
    <dgm:pt modelId="{D1751560-A297-48D6-B61C-DC088F13DF35}" type="pres">
      <dgm:prSet presAssocID="{D319D212-E0D7-4348-BE1B-193C0207E96C}" presName="hierChild2" presStyleCnt="0"/>
      <dgm:spPr/>
    </dgm:pt>
    <dgm:pt modelId="{E3FB7C4F-5F3B-436C-A3D0-BFC59818DFAF}" type="pres">
      <dgm:prSet presAssocID="{D319D212-E0D7-4348-BE1B-193C0207E96C}" presName="hierChild3" presStyleCnt="0"/>
      <dgm:spPr/>
    </dgm:pt>
    <dgm:pt modelId="{4DDFD655-4EC9-434D-A266-7DEC3C368536}" type="pres">
      <dgm:prSet presAssocID="{DE69E921-F41A-4C4C-9235-AC8D56D98373}" presName="hierRoot1" presStyleCnt="0">
        <dgm:presLayoutVars>
          <dgm:hierBranch val="init"/>
        </dgm:presLayoutVars>
      </dgm:prSet>
      <dgm:spPr/>
    </dgm:pt>
    <dgm:pt modelId="{FFD773D7-CC16-45B4-945B-9ABBE193FD32}" type="pres">
      <dgm:prSet presAssocID="{DE69E921-F41A-4C4C-9235-AC8D56D98373}" presName="rootComposite1" presStyleCnt="0"/>
      <dgm:spPr/>
    </dgm:pt>
    <dgm:pt modelId="{B58C9616-FD97-4037-9E11-017E40CCEFF8}" type="pres">
      <dgm:prSet presAssocID="{DE69E921-F41A-4C4C-9235-AC8D56D98373}" presName="rootText1" presStyleLbl="node0" presStyleIdx="5" presStyleCnt="8">
        <dgm:presLayoutVars>
          <dgm:chPref val="3"/>
        </dgm:presLayoutVars>
      </dgm:prSet>
      <dgm:spPr/>
    </dgm:pt>
    <dgm:pt modelId="{6A1BA9D1-C448-4687-BD02-3E0578A2D32C}" type="pres">
      <dgm:prSet presAssocID="{DE69E921-F41A-4C4C-9235-AC8D56D98373}" presName="rootConnector1" presStyleLbl="node1" presStyleIdx="0" presStyleCnt="0"/>
      <dgm:spPr/>
    </dgm:pt>
    <dgm:pt modelId="{C27D8F30-0EB6-40BD-9560-A0953BBC4F4D}" type="pres">
      <dgm:prSet presAssocID="{DE69E921-F41A-4C4C-9235-AC8D56D98373}" presName="hierChild2" presStyleCnt="0"/>
      <dgm:spPr/>
    </dgm:pt>
    <dgm:pt modelId="{3256798B-3F6A-4AC6-A0AD-0ACB97CC1292}" type="pres">
      <dgm:prSet presAssocID="{DE69E921-F41A-4C4C-9235-AC8D56D98373}" presName="hierChild3" presStyleCnt="0"/>
      <dgm:spPr/>
    </dgm:pt>
    <dgm:pt modelId="{3EBAA894-BBD4-4C2B-A622-671511866271}" type="pres">
      <dgm:prSet presAssocID="{CAC7F611-8392-45ED-9770-800426B6ECDC}" presName="hierRoot1" presStyleCnt="0">
        <dgm:presLayoutVars>
          <dgm:hierBranch val="init"/>
        </dgm:presLayoutVars>
      </dgm:prSet>
      <dgm:spPr/>
    </dgm:pt>
    <dgm:pt modelId="{D9AE8EB2-3705-4613-A86E-6610DB81B7F6}" type="pres">
      <dgm:prSet presAssocID="{CAC7F611-8392-45ED-9770-800426B6ECDC}" presName="rootComposite1" presStyleCnt="0"/>
      <dgm:spPr/>
    </dgm:pt>
    <dgm:pt modelId="{E5E5B8D5-4744-4862-97C1-765125937321}" type="pres">
      <dgm:prSet presAssocID="{CAC7F611-8392-45ED-9770-800426B6ECDC}" presName="rootText1" presStyleLbl="node0" presStyleIdx="6" presStyleCnt="8">
        <dgm:presLayoutVars>
          <dgm:chPref val="3"/>
        </dgm:presLayoutVars>
      </dgm:prSet>
      <dgm:spPr/>
    </dgm:pt>
    <dgm:pt modelId="{1B793F63-4080-4B34-8E0D-E108167D82F0}" type="pres">
      <dgm:prSet presAssocID="{CAC7F611-8392-45ED-9770-800426B6ECDC}" presName="rootConnector1" presStyleLbl="node1" presStyleIdx="0" presStyleCnt="0"/>
      <dgm:spPr/>
    </dgm:pt>
    <dgm:pt modelId="{AD9F6772-AE44-4144-9919-3473A9B9C177}" type="pres">
      <dgm:prSet presAssocID="{CAC7F611-8392-45ED-9770-800426B6ECDC}" presName="hierChild2" presStyleCnt="0"/>
      <dgm:spPr/>
    </dgm:pt>
    <dgm:pt modelId="{6386E38F-D68E-4636-A933-9CFD261EDEC8}" type="pres">
      <dgm:prSet presAssocID="{CAC7F611-8392-45ED-9770-800426B6ECDC}" presName="hierChild3" presStyleCnt="0"/>
      <dgm:spPr/>
    </dgm:pt>
    <dgm:pt modelId="{E4AB84A2-0D54-44FA-9875-32BC5B082BB7}" type="pres">
      <dgm:prSet presAssocID="{87F18841-A510-4071-9B7A-E98C73864692}" presName="hierRoot1" presStyleCnt="0">
        <dgm:presLayoutVars>
          <dgm:hierBranch val="init"/>
        </dgm:presLayoutVars>
      </dgm:prSet>
      <dgm:spPr/>
    </dgm:pt>
    <dgm:pt modelId="{F016F49C-C5E5-4D2B-ACCE-E7707CF60E6F}" type="pres">
      <dgm:prSet presAssocID="{87F18841-A510-4071-9B7A-E98C73864692}" presName="rootComposite1" presStyleCnt="0"/>
      <dgm:spPr/>
    </dgm:pt>
    <dgm:pt modelId="{9EF3D1FA-E17E-4E19-B804-7FDE740D0FF3}" type="pres">
      <dgm:prSet presAssocID="{87F18841-A510-4071-9B7A-E98C73864692}" presName="rootText1" presStyleLbl="node0" presStyleIdx="7" presStyleCnt="8">
        <dgm:presLayoutVars>
          <dgm:chPref val="3"/>
        </dgm:presLayoutVars>
      </dgm:prSet>
      <dgm:spPr/>
    </dgm:pt>
    <dgm:pt modelId="{8589093E-50D4-4E56-8EDD-C75119C1C6B3}" type="pres">
      <dgm:prSet presAssocID="{87F18841-A510-4071-9B7A-E98C73864692}" presName="rootConnector1" presStyleLbl="node1" presStyleIdx="0" presStyleCnt="0"/>
      <dgm:spPr/>
    </dgm:pt>
    <dgm:pt modelId="{F3B2E033-D0CC-4B98-B436-4FDBEB61DD72}" type="pres">
      <dgm:prSet presAssocID="{87F18841-A510-4071-9B7A-E98C73864692}" presName="hierChild2" presStyleCnt="0"/>
      <dgm:spPr/>
    </dgm:pt>
    <dgm:pt modelId="{8AD98B4A-3225-4892-B6AE-D27803B50DE5}" type="pres">
      <dgm:prSet presAssocID="{87F18841-A510-4071-9B7A-E98C73864692}" presName="hierChild3" presStyleCnt="0"/>
      <dgm:spPr/>
    </dgm:pt>
  </dgm:ptLst>
  <dgm:cxnLst>
    <dgm:cxn modelId="{403C8310-AA12-4959-9410-668ACEEA7529}" srcId="{4AC7D0A2-7FA2-42B9-800C-4AA94AD4E94F}" destId="{DE69E921-F41A-4C4C-9235-AC8D56D98373}" srcOrd="5" destOrd="0" parTransId="{ED485F4F-D847-4CD2-AFEB-8C416ED65C0A}" sibTransId="{FA090C72-71E9-4D26-8D6E-1C091F68B5F7}"/>
    <dgm:cxn modelId="{F80CBE18-968C-4FBD-84C3-C28FCD5E48F7}" srcId="{4AC7D0A2-7FA2-42B9-800C-4AA94AD4E94F}" destId="{87F18841-A510-4071-9B7A-E98C73864692}" srcOrd="7" destOrd="0" parTransId="{196F05C9-33AA-4747-9FCB-01D8FF0E3AA9}" sibTransId="{64B359FA-E979-413A-836C-C94156703FD8}"/>
    <dgm:cxn modelId="{83D8D11F-BE1A-417C-9F1B-9C7672F0CCCC}" type="presOf" srcId="{4AC7D0A2-7FA2-42B9-800C-4AA94AD4E94F}" destId="{5A73D11F-04AE-4805-8763-A51B1310F8B2}" srcOrd="0" destOrd="0" presId="urn:microsoft.com/office/officeart/2009/3/layout/HorizontalOrganizationChart"/>
    <dgm:cxn modelId="{31536A2C-C198-4A91-B65D-769078A56ACF}" srcId="{4AC7D0A2-7FA2-42B9-800C-4AA94AD4E94F}" destId="{941D548A-36DC-424F-A625-06D25BEFC5AE}" srcOrd="2" destOrd="0" parTransId="{3AA82BDA-9947-4780-9850-5B854CE2AD87}" sibTransId="{7EB29B12-5ED9-4E78-A79A-6B7DCC1D2559}"/>
    <dgm:cxn modelId="{334F7637-5C5E-4FE6-8609-FB10850D1FBE}" type="presOf" srcId="{B699DECC-C977-4352-A333-BB8059ADC506}" destId="{0339D574-497F-4CBF-A1A6-F8F98EFE60A2}" srcOrd="0" destOrd="0" presId="urn:microsoft.com/office/officeart/2009/3/layout/HorizontalOrganizationChart"/>
    <dgm:cxn modelId="{76FB353B-18EF-4B05-86DD-339FE5333DF8}" srcId="{4AC7D0A2-7FA2-42B9-800C-4AA94AD4E94F}" destId="{B699DECC-C977-4352-A333-BB8059ADC506}" srcOrd="3" destOrd="0" parTransId="{469A64C4-5354-4FE2-BB40-AB622BE2F682}" sibTransId="{F3BA4C68-5E40-4680-94EE-92EF09D5D5B6}"/>
    <dgm:cxn modelId="{A2CB3440-1A27-434C-855E-5E1C21E6C4B2}" srcId="{4AC7D0A2-7FA2-42B9-800C-4AA94AD4E94F}" destId="{4BCA4279-40E7-4605-ADA2-33B720168877}" srcOrd="1" destOrd="0" parTransId="{AA018FB6-4C4F-456E-BFE7-438F7AB6A0EA}" sibTransId="{B575B532-B06F-4304-9501-91E7B6E55594}"/>
    <dgm:cxn modelId="{B8A3F35C-A51F-4065-8C3A-57D9CD4D5FAF}" type="presOf" srcId="{941D548A-36DC-424F-A625-06D25BEFC5AE}" destId="{9DF8B708-70C5-473F-BDCA-29572D154352}" srcOrd="0" destOrd="0" presId="urn:microsoft.com/office/officeart/2009/3/layout/HorizontalOrganizationChart"/>
    <dgm:cxn modelId="{82392141-3B42-42ED-913B-4D93CE3417CF}" srcId="{4AC7D0A2-7FA2-42B9-800C-4AA94AD4E94F}" destId="{09F73745-6CDF-43A6-87C6-E5CEBC15F005}" srcOrd="0" destOrd="0" parTransId="{37DB5786-44B2-442F-822B-6B1CFAA03CF3}" sibTransId="{C6F46281-2BF8-4901-925A-FB093D633225}"/>
    <dgm:cxn modelId="{11546263-18F4-41B9-A165-99D7DC37ABE1}" type="presOf" srcId="{B699DECC-C977-4352-A333-BB8059ADC506}" destId="{0FD2965D-F3BB-47EE-AE49-33DADF45B306}" srcOrd="1" destOrd="0" presId="urn:microsoft.com/office/officeart/2009/3/layout/HorizontalOrganizationChart"/>
    <dgm:cxn modelId="{620FE145-02AB-40FC-A903-F1441C247102}" type="presOf" srcId="{D319D212-E0D7-4348-BE1B-193C0207E96C}" destId="{15183B0B-FA8D-45B0-9B30-DA93B8E35B10}" srcOrd="0" destOrd="0" presId="urn:microsoft.com/office/officeart/2009/3/layout/HorizontalOrganizationChart"/>
    <dgm:cxn modelId="{92B7F466-4A21-477D-A5E9-2FFBD6077D2F}" type="presOf" srcId="{09F73745-6CDF-43A6-87C6-E5CEBC15F005}" destId="{EB202B4B-D3F9-4E3C-B2CC-1F6BE435CB83}" srcOrd="0" destOrd="0" presId="urn:microsoft.com/office/officeart/2009/3/layout/HorizontalOrganizationChart"/>
    <dgm:cxn modelId="{090D7968-18D7-499C-9D9E-974F1CF2DE7C}" type="presOf" srcId="{4BCA4279-40E7-4605-ADA2-33B720168877}" destId="{C24007E6-14E7-40E3-A2D9-32F374057585}" srcOrd="1" destOrd="0" presId="urn:microsoft.com/office/officeart/2009/3/layout/HorizontalOrganizationChart"/>
    <dgm:cxn modelId="{21BC6B73-A419-4727-8FC0-6B7AC83BACD4}" srcId="{4AC7D0A2-7FA2-42B9-800C-4AA94AD4E94F}" destId="{CAC7F611-8392-45ED-9770-800426B6ECDC}" srcOrd="6" destOrd="0" parTransId="{9F5953CD-64A3-4A3C-88DA-716A17195610}" sibTransId="{72863BAC-52B3-42D7-9421-AC346EC6409D}"/>
    <dgm:cxn modelId="{336CA854-1477-4CAA-A967-B56F2AEF6CFC}" srcId="{4AC7D0A2-7FA2-42B9-800C-4AA94AD4E94F}" destId="{D319D212-E0D7-4348-BE1B-193C0207E96C}" srcOrd="4" destOrd="0" parTransId="{438F6585-D79C-4404-9E1C-C5581655F5B0}" sibTransId="{2DBB824A-ED99-438B-927E-9F4B0CB99947}"/>
    <dgm:cxn modelId="{76945299-BECB-4B2D-BB38-91730E3C27CE}" type="presOf" srcId="{CAC7F611-8392-45ED-9770-800426B6ECDC}" destId="{1B793F63-4080-4B34-8E0D-E108167D82F0}" srcOrd="1" destOrd="0" presId="urn:microsoft.com/office/officeart/2009/3/layout/HorizontalOrganizationChart"/>
    <dgm:cxn modelId="{F8D6DBA1-1D90-4314-8B88-BF6E97BE53AC}" type="presOf" srcId="{87F18841-A510-4071-9B7A-E98C73864692}" destId="{8589093E-50D4-4E56-8EDD-C75119C1C6B3}" srcOrd="1" destOrd="0" presId="urn:microsoft.com/office/officeart/2009/3/layout/HorizontalOrganizationChart"/>
    <dgm:cxn modelId="{EE5128A3-9132-4204-93F5-397F4FDFBB92}" type="presOf" srcId="{09F73745-6CDF-43A6-87C6-E5CEBC15F005}" destId="{DF57950E-4E62-4A2B-8800-F2D63AF37C62}" srcOrd="1" destOrd="0" presId="urn:microsoft.com/office/officeart/2009/3/layout/HorizontalOrganizationChart"/>
    <dgm:cxn modelId="{68E517AB-F76F-408E-9A52-D84F50D712D5}" type="presOf" srcId="{87F18841-A510-4071-9B7A-E98C73864692}" destId="{9EF3D1FA-E17E-4E19-B804-7FDE740D0FF3}" srcOrd="0" destOrd="0" presId="urn:microsoft.com/office/officeart/2009/3/layout/HorizontalOrganizationChart"/>
    <dgm:cxn modelId="{9A7242B5-F155-4340-B830-C95BC99E29E5}" type="presOf" srcId="{DE69E921-F41A-4C4C-9235-AC8D56D98373}" destId="{6A1BA9D1-C448-4687-BD02-3E0578A2D32C}" srcOrd="1" destOrd="0" presId="urn:microsoft.com/office/officeart/2009/3/layout/HorizontalOrganizationChart"/>
    <dgm:cxn modelId="{DC9EA3B7-AE86-4AA6-955E-E269CCCF81D6}" type="presOf" srcId="{CAC7F611-8392-45ED-9770-800426B6ECDC}" destId="{E5E5B8D5-4744-4862-97C1-765125937321}" srcOrd="0" destOrd="0" presId="urn:microsoft.com/office/officeart/2009/3/layout/HorizontalOrganizationChart"/>
    <dgm:cxn modelId="{913106BA-C2BE-4B4F-A74C-44BE479E5626}" type="presOf" srcId="{DE69E921-F41A-4C4C-9235-AC8D56D98373}" destId="{B58C9616-FD97-4037-9E11-017E40CCEFF8}" srcOrd="0" destOrd="0" presId="urn:microsoft.com/office/officeart/2009/3/layout/HorizontalOrganizationChart"/>
    <dgm:cxn modelId="{5BE328C6-A422-424E-9623-428CAAAB39CC}" type="presOf" srcId="{941D548A-36DC-424F-A625-06D25BEFC5AE}" destId="{B37A89F8-E424-4421-A9F0-30BBDE4670E6}" srcOrd="1" destOrd="0" presId="urn:microsoft.com/office/officeart/2009/3/layout/HorizontalOrganizationChart"/>
    <dgm:cxn modelId="{F65C59CF-0D25-42CD-801C-064C86BC62DC}" type="presOf" srcId="{D319D212-E0D7-4348-BE1B-193C0207E96C}" destId="{D6F55D47-2CB9-455D-BB76-646D9093D101}" srcOrd="1" destOrd="0" presId="urn:microsoft.com/office/officeart/2009/3/layout/HorizontalOrganizationChart"/>
    <dgm:cxn modelId="{26EAF3F1-B1E1-473E-BB3E-D74FF941E765}" type="presOf" srcId="{4BCA4279-40E7-4605-ADA2-33B720168877}" destId="{0D3D5D96-76A1-4575-9D56-27BEFA35F07B}" srcOrd="0" destOrd="0" presId="urn:microsoft.com/office/officeart/2009/3/layout/HorizontalOrganizationChart"/>
    <dgm:cxn modelId="{FA69D158-F844-4A3F-818B-A02BC8FC37E5}" type="presParOf" srcId="{5A73D11F-04AE-4805-8763-A51B1310F8B2}" destId="{69759369-9351-45AD-A7F1-49AFB72C0DC8}" srcOrd="0" destOrd="0" presId="urn:microsoft.com/office/officeart/2009/3/layout/HorizontalOrganizationChart"/>
    <dgm:cxn modelId="{FD0988EF-23A3-4D71-8F33-02E88F3BA847}" type="presParOf" srcId="{69759369-9351-45AD-A7F1-49AFB72C0DC8}" destId="{89535653-EA4E-4F4F-8492-CDFEB5C41A7A}" srcOrd="0" destOrd="0" presId="urn:microsoft.com/office/officeart/2009/3/layout/HorizontalOrganizationChart"/>
    <dgm:cxn modelId="{CF32E6CC-195F-4868-9553-BE16FA447769}" type="presParOf" srcId="{89535653-EA4E-4F4F-8492-CDFEB5C41A7A}" destId="{EB202B4B-D3F9-4E3C-B2CC-1F6BE435CB83}" srcOrd="0" destOrd="0" presId="urn:microsoft.com/office/officeart/2009/3/layout/HorizontalOrganizationChart"/>
    <dgm:cxn modelId="{42A828FA-D705-4EBD-A885-35B1B59E3EEA}" type="presParOf" srcId="{89535653-EA4E-4F4F-8492-CDFEB5C41A7A}" destId="{DF57950E-4E62-4A2B-8800-F2D63AF37C62}" srcOrd="1" destOrd="0" presId="urn:microsoft.com/office/officeart/2009/3/layout/HorizontalOrganizationChart"/>
    <dgm:cxn modelId="{DF0FA701-BA37-4953-95BD-CED033A9026F}" type="presParOf" srcId="{69759369-9351-45AD-A7F1-49AFB72C0DC8}" destId="{D54C6AC2-9978-4846-894C-5DFAFC57094F}" srcOrd="1" destOrd="0" presId="urn:microsoft.com/office/officeart/2009/3/layout/HorizontalOrganizationChart"/>
    <dgm:cxn modelId="{3C8E68FE-64A0-47B8-B08A-F9D82DD13666}" type="presParOf" srcId="{69759369-9351-45AD-A7F1-49AFB72C0DC8}" destId="{B1359702-7C65-46FC-B808-A1966FE8AD83}" srcOrd="2" destOrd="0" presId="urn:microsoft.com/office/officeart/2009/3/layout/HorizontalOrganizationChart"/>
    <dgm:cxn modelId="{8C51D81F-7D49-4A7C-9E26-4453D9151D1F}" type="presParOf" srcId="{5A73D11F-04AE-4805-8763-A51B1310F8B2}" destId="{085B073B-69CA-48EA-A7B0-9DC6DAD50B48}" srcOrd="1" destOrd="0" presId="urn:microsoft.com/office/officeart/2009/3/layout/HorizontalOrganizationChart"/>
    <dgm:cxn modelId="{6BB9E51C-3798-408C-979F-566BC76F184A}" type="presParOf" srcId="{085B073B-69CA-48EA-A7B0-9DC6DAD50B48}" destId="{BAFA1DCF-BAB1-40BC-BB1D-82F853222FC3}" srcOrd="0" destOrd="0" presId="urn:microsoft.com/office/officeart/2009/3/layout/HorizontalOrganizationChart"/>
    <dgm:cxn modelId="{06A03792-C660-4977-B84C-0EA29379275A}" type="presParOf" srcId="{BAFA1DCF-BAB1-40BC-BB1D-82F853222FC3}" destId="{0D3D5D96-76A1-4575-9D56-27BEFA35F07B}" srcOrd="0" destOrd="0" presId="urn:microsoft.com/office/officeart/2009/3/layout/HorizontalOrganizationChart"/>
    <dgm:cxn modelId="{B092232E-4666-45BD-A8FE-BBB0F2BFBD98}" type="presParOf" srcId="{BAFA1DCF-BAB1-40BC-BB1D-82F853222FC3}" destId="{C24007E6-14E7-40E3-A2D9-32F374057585}" srcOrd="1" destOrd="0" presId="urn:microsoft.com/office/officeart/2009/3/layout/HorizontalOrganizationChart"/>
    <dgm:cxn modelId="{D244E27C-1174-4EA0-84F8-3DFFE5080161}" type="presParOf" srcId="{085B073B-69CA-48EA-A7B0-9DC6DAD50B48}" destId="{1CF60339-D856-4DBD-BB38-3DD77E0EAD8F}" srcOrd="1" destOrd="0" presId="urn:microsoft.com/office/officeart/2009/3/layout/HorizontalOrganizationChart"/>
    <dgm:cxn modelId="{616FED8A-583C-4D1E-AAB2-C27A3AA3D099}" type="presParOf" srcId="{085B073B-69CA-48EA-A7B0-9DC6DAD50B48}" destId="{A692A1CE-FDE3-47FE-B369-D681342FB538}" srcOrd="2" destOrd="0" presId="urn:microsoft.com/office/officeart/2009/3/layout/HorizontalOrganizationChart"/>
    <dgm:cxn modelId="{74C56A3A-F414-4A68-81C7-538F52BC818F}" type="presParOf" srcId="{5A73D11F-04AE-4805-8763-A51B1310F8B2}" destId="{6F5C6372-0FF6-4B26-8AC2-C1AA3D2408FC}" srcOrd="2" destOrd="0" presId="urn:microsoft.com/office/officeart/2009/3/layout/HorizontalOrganizationChart"/>
    <dgm:cxn modelId="{834AF514-4972-4CB2-852D-8494907A32B0}" type="presParOf" srcId="{6F5C6372-0FF6-4B26-8AC2-C1AA3D2408FC}" destId="{DA5EB55E-EEB2-46C6-A8FE-B6FB3D5DBFC6}" srcOrd="0" destOrd="0" presId="urn:microsoft.com/office/officeart/2009/3/layout/HorizontalOrganizationChart"/>
    <dgm:cxn modelId="{3C59DE59-81AD-4AC7-9BBC-9231988672E3}" type="presParOf" srcId="{DA5EB55E-EEB2-46C6-A8FE-B6FB3D5DBFC6}" destId="{9DF8B708-70C5-473F-BDCA-29572D154352}" srcOrd="0" destOrd="0" presId="urn:microsoft.com/office/officeart/2009/3/layout/HorizontalOrganizationChart"/>
    <dgm:cxn modelId="{6287F0F5-85F3-4849-A531-BA1DC199F08C}" type="presParOf" srcId="{DA5EB55E-EEB2-46C6-A8FE-B6FB3D5DBFC6}" destId="{B37A89F8-E424-4421-A9F0-30BBDE4670E6}" srcOrd="1" destOrd="0" presId="urn:microsoft.com/office/officeart/2009/3/layout/HorizontalOrganizationChart"/>
    <dgm:cxn modelId="{82705412-DAA8-4D18-9753-8C154975F067}" type="presParOf" srcId="{6F5C6372-0FF6-4B26-8AC2-C1AA3D2408FC}" destId="{90EAF175-059B-47DE-A71D-B6698C667E02}" srcOrd="1" destOrd="0" presId="urn:microsoft.com/office/officeart/2009/3/layout/HorizontalOrganizationChart"/>
    <dgm:cxn modelId="{B94AF30C-199B-42FA-8D0D-0C9105E23F81}" type="presParOf" srcId="{6F5C6372-0FF6-4B26-8AC2-C1AA3D2408FC}" destId="{1103A3E2-ED39-40D8-B06B-F800FA0FA732}" srcOrd="2" destOrd="0" presId="urn:microsoft.com/office/officeart/2009/3/layout/HorizontalOrganizationChart"/>
    <dgm:cxn modelId="{2F3597C4-FAB0-474D-AF8D-508022C1143A}" type="presParOf" srcId="{5A73D11F-04AE-4805-8763-A51B1310F8B2}" destId="{93C847F4-D564-4458-813B-1B83B80B3DAF}" srcOrd="3" destOrd="0" presId="urn:microsoft.com/office/officeart/2009/3/layout/HorizontalOrganizationChart"/>
    <dgm:cxn modelId="{B21F0A23-73D8-4C50-A43A-6F5998B7CAE4}" type="presParOf" srcId="{93C847F4-D564-4458-813B-1B83B80B3DAF}" destId="{B75A125F-ABFC-4EE8-8BAE-34B030A2B571}" srcOrd="0" destOrd="0" presId="urn:microsoft.com/office/officeart/2009/3/layout/HorizontalOrganizationChart"/>
    <dgm:cxn modelId="{71116136-0A80-426E-A68F-02D1E945AA77}" type="presParOf" srcId="{B75A125F-ABFC-4EE8-8BAE-34B030A2B571}" destId="{0339D574-497F-4CBF-A1A6-F8F98EFE60A2}" srcOrd="0" destOrd="0" presId="urn:microsoft.com/office/officeart/2009/3/layout/HorizontalOrganizationChart"/>
    <dgm:cxn modelId="{3DD26A76-4C3F-4544-B999-CB35FC5D28BD}" type="presParOf" srcId="{B75A125F-ABFC-4EE8-8BAE-34B030A2B571}" destId="{0FD2965D-F3BB-47EE-AE49-33DADF45B306}" srcOrd="1" destOrd="0" presId="urn:microsoft.com/office/officeart/2009/3/layout/HorizontalOrganizationChart"/>
    <dgm:cxn modelId="{357A6F14-C109-43CF-A41A-5D6D08D1DD06}" type="presParOf" srcId="{93C847F4-D564-4458-813B-1B83B80B3DAF}" destId="{58DA2AB1-ECB3-4CE3-ADB0-95AC8C017917}" srcOrd="1" destOrd="0" presId="urn:microsoft.com/office/officeart/2009/3/layout/HorizontalOrganizationChart"/>
    <dgm:cxn modelId="{14EA51EF-276D-49BE-9976-7E5F60652B7C}" type="presParOf" srcId="{93C847F4-D564-4458-813B-1B83B80B3DAF}" destId="{DEC54837-0987-495C-AC7F-42FB9E87F128}" srcOrd="2" destOrd="0" presId="urn:microsoft.com/office/officeart/2009/3/layout/HorizontalOrganizationChart"/>
    <dgm:cxn modelId="{7FBCD9E2-921A-443C-A7A7-423802027399}" type="presParOf" srcId="{5A73D11F-04AE-4805-8763-A51B1310F8B2}" destId="{C5594696-6C77-4617-A6F7-E92F4BCB7AF1}" srcOrd="4" destOrd="0" presId="urn:microsoft.com/office/officeart/2009/3/layout/HorizontalOrganizationChart"/>
    <dgm:cxn modelId="{A248B3A3-D022-481C-BD66-FCADAE4FDA78}" type="presParOf" srcId="{C5594696-6C77-4617-A6F7-E92F4BCB7AF1}" destId="{4B6BC26F-A965-4B55-ADDE-905C4A58FA5C}" srcOrd="0" destOrd="0" presId="urn:microsoft.com/office/officeart/2009/3/layout/HorizontalOrganizationChart"/>
    <dgm:cxn modelId="{CF171D1A-9377-493D-8D9D-2A554CE99C23}" type="presParOf" srcId="{4B6BC26F-A965-4B55-ADDE-905C4A58FA5C}" destId="{15183B0B-FA8D-45B0-9B30-DA93B8E35B10}" srcOrd="0" destOrd="0" presId="urn:microsoft.com/office/officeart/2009/3/layout/HorizontalOrganizationChart"/>
    <dgm:cxn modelId="{6324A591-AB0E-4D37-BB89-C31D60FDC351}" type="presParOf" srcId="{4B6BC26F-A965-4B55-ADDE-905C4A58FA5C}" destId="{D6F55D47-2CB9-455D-BB76-646D9093D101}" srcOrd="1" destOrd="0" presId="urn:microsoft.com/office/officeart/2009/3/layout/HorizontalOrganizationChart"/>
    <dgm:cxn modelId="{87744ACF-141C-49CB-A7D7-695122432FBE}" type="presParOf" srcId="{C5594696-6C77-4617-A6F7-E92F4BCB7AF1}" destId="{D1751560-A297-48D6-B61C-DC088F13DF35}" srcOrd="1" destOrd="0" presId="urn:microsoft.com/office/officeart/2009/3/layout/HorizontalOrganizationChart"/>
    <dgm:cxn modelId="{B0C08C6C-7A6D-4EF2-9BF4-72FC4FB0930E}" type="presParOf" srcId="{C5594696-6C77-4617-A6F7-E92F4BCB7AF1}" destId="{E3FB7C4F-5F3B-436C-A3D0-BFC59818DFAF}" srcOrd="2" destOrd="0" presId="urn:microsoft.com/office/officeart/2009/3/layout/HorizontalOrganizationChart"/>
    <dgm:cxn modelId="{A7F0CFCE-5406-4CBD-A97E-A4AA974A3751}" type="presParOf" srcId="{5A73D11F-04AE-4805-8763-A51B1310F8B2}" destId="{4DDFD655-4EC9-434D-A266-7DEC3C368536}" srcOrd="5" destOrd="0" presId="urn:microsoft.com/office/officeart/2009/3/layout/HorizontalOrganizationChart"/>
    <dgm:cxn modelId="{BD8FED89-9AE6-43C5-8842-AEEB31A372D8}" type="presParOf" srcId="{4DDFD655-4EC9-434D-A266-7DEC3C368536}" destId="{FFD773D7-CC16-45B4-945B-9ABBE193FD32}" srcOrd="0" destOrd="0" presId="urn:microsoft.com/office/officeart/2009/3/layout/HorizontalOrganizationChart"/>
    <dgm:cxn modelId="{4C411A10-EFD7-49E7-A4C5-2C8CD093765D}" type="presParOf" srcId="{FFD773D7-CC16-45B4-945B-9ABBE193FD32}" destId="{B58C9616-FD97-4037-9E11-017E40CCEFF8}" srcOrd="0" destOrd="0" presId="urn:microsoft.com/office/officeart/2009/3/layout/HorizontalOrganizationChart"/>
    <dgm:cxn modelId="{AD3D2334-F7F5-4250-A2F9-F9366A7280D6}" type="presParOf" srcId="{FFD773D7-CC16-45B4-945B-9ABBE193FD32}" destId="{6A1BA9D1-C448-4687-BD02-3E0578A2D32C}" srcOrd="1" destOrd="0" presId="urn:microsoft.com/office/officeart/2009/3/layout/HorizontalOrganizationChart"/>
    <dgm:cxn modelId="{88C14D8E-BD26-43F2-9C20-A9F58220D657}" type="presParOf" srcId="{4DDFD655-4EC9-434D-A266-7DEC3C368536}" destId="{C27D8F30-0EB6-40BD-9560-A0953BBC4F4D}" srcOrd="1" destOrd="0" presId="urn:microsoft.com/office/officeart/2009/3/layout/HorizontalOrganizationChart"/>
    <dgm:cxn modelId="{29FD7DD6-F560-4CDE-85EC-F10D44AC9D65}" type="presParOf" srcId="{4DDFD655-4EC9-434D-A266-7DEC3C368536}" destId="{3256798B-3F6A-4AC6-A0AD-0ACB97CC1292}" srcOrd="2" destOrd="0" presId="urn:microsoft.com/office/officeart/2009/3/layout/HorizontalOrganizationChart"/>
    <dgm:cxn modelId="{A6430A03-4A5C-4631-A870-2C13BD76650E}" type="presParOf" srcId="{5A73D11F-04AE-4805-8763-A51B1310F8B2}" destId="{3EBAA894-BBD4-4C2B-A622-671511866271}" srcOrd="6" destOrd="0" presId="urn:microsoft.com/office/officeart/2009/3/layout/HorizontalOrganizationChart"/>
    <dgm:cxn modelId="{B5D0CCC8-C4E0-40E8-A329-5BC9CC540488}" type="presParOf" srcId="{3EBAA894-BBD4-4C2B-A622-671511866271}" destId="{D9AE8EB2-3705-4613-A86E-6610DB81B7F6}" srcOrd="0" destOrd="0" presId="urn:microsoft.com/office/officeart/2009/3/layout/HorizontalOrganizationChart"/>
    <dgm:cxn modelId="{88FE9633-1EB2-4538-AE6E-22A5E46012D0}" type="presParOf" srcId="{D9AE8EB2-3705-4613-A86E-6610DB81B7F6}" destId="{E5E5B8D5-4744-4862-97C1-765125937321}" srcOrd="0" destOrd="0" presId="urn:microsoft.com/office/officeart/2009/3/layout/HorizontalOrganizationChart"/>
    <dgm:cxn modelId="{DAD9992F-E4D4-4D71-AD85-5CE1C2292DE8}" type="presParOf" srcId="{D9AE8EB2-3705-4613-A86E-6610DB81B7F6}" destId="{1B793F63-4080-4B34-8E0D-E108167D82F0}" srcOrd="1" destOrd="0" presId="urn:microsoft.com/office/officeart/2009/3/layout/HorizontalOrganizationChart"/>
    <dgm:cxn modelId="{C90316D4-C1BF-4832-AA53-5DA7AB4EF73E}" type="presParOf" srcId="{3EBAA894-BBD4-4C2B-A622-671511866271}" destId="{AD9F6772-AE44-4144-9919-3473A9B9C177}" srcOrd="1" destOrd="0" presId="urn:microsoft.com/office/officeart/2009/3/layout/HorizontalOrganizationChart"/>
    <dgm:cxn modelId="{7D04A6BA-2F20-4457-AA1B-C285C745E221}" type="presParOf" srcId="{3EBAA894-BBD4-4C2B-A622-671511866271}" destId="{6386E38F-D68E-4636-A933-9CFD261EDEC8}" srcOrd="2" destOrd="0" presId="urn:microsoft.com/office/officeart/2009/3/layout/HorizontalOrganizationChart"/>
    <dgm:cxn modelId="{837D9347-62B0-40CE-AA44-2CE790CBDA36}" type="presParOf" srcId="{5A73D11F-04AE-4805-8763-A51B1310F8B2}" destId="{E4AB84A2-0D54-44FA-9875-32BC5B082BB7}" srcOrd="7" destOrd="0" presId="urn:microsoft.com/office/officeart/2009/3/layout/HorizontalOrganizationChart"/>
    <dgm:cxn modelId="{8B51934D-D210-463B-BDAF-1733CF6FF952}" type="presParOf" srcId="{E4AB84A2-0D54-44FA-9875-32BC5B082BB7}" destId="{F016F49C-C5E5-4D2B-ACCE-E7707CF60E6F}" srcOrd="0" destOrd="0" presId="urn:microsoft.com/office/officeart/2009/3/layout/HorizontalOrganizationChart"/>
    <dgm:cxn modelId="{5FCC630A-34EF-43D6-8F9B-4907D4177AFD}" type="presParOf" srcId="{F016F49C-C5E5-4D2B-ACCE-E7707CF60E6F}" destId="{9EF3D1FA-E17E-4E19-B804-7FDE740D0FF3}" srcOrd="0" destOrd="0" presId="urn:microsoft.com/office/officeart/2009/3/layout/HorizontalOrganizationChart"/>
    <dgm:cxn modelId="{C176F047-2A72-4A29-9521-430C8C893EC8}" type="presParOf" srcId="{F016F49C-C5E5-4D2B-ACCE-E7707CF60E6F}" destId="{8589093E-50D4-4E56-8EDD-C75119C1C6B3}" srcOrd="1" destOrd="0" presId="urn:microsoft.com/office/officeart/2009/3/layout/HorizontalOrganizationChart"/>
    <dgm:cxn modelId="{F757FEC1-C9FE-45F7-B2EE-4E07A716130B}" type="presParOf" srcId="{E4AB84A2-0D54-44FA-9875-32BC5B082BB7}" destId="{F3B2E033-D0CC-4B98-B436-4FDBEB61DD72}" srcOrd="1" destOrd="0" presId="urn:microsoft.com/office/officeart/2009/3/layout/HorizontalOrganizationChart"/>
    <dgm:cxn modelId="{621C4372-BCC5-4B34-AF75-66B044BBDA5F}" type="presParOf" srcId="{E4AB84A2-0D54-44FA-9875-32BC5B082BB7}" destId="{8AD98B4A-3225-4892-B6AE-D27803B50DE5}" srcOrd="2" destOrd="0" presId="urn:microsoft.com/office/officeart/2009/3/layout/HorizontalOrganizationChart"/>
  </dgm:cxnLst>
  <dgm:bg/>
  <dgm:whole>
    <a:ln w="38100">
      <a:solidFill>
        <a:srgbClr val="C00000"/>
      </a:solidFill>
      <a:extLst>
        <a:ext uri="{C807C97D-BFC1-408E-A445-0C87EB9F89A2}">
          <ask:lineSketchStyleProps xmlns:ask="http://schemas.microsoft.com/office/drawing/2018/sketchyshapes">
            <ask:type>
              <ask:lineSketchCurved/>
            </ask:type>
          </ask:lineSketchStyleProps>
        </a:ext>
      </a:extLst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DA21BFDC-D3BC-40F9-832F-EAD218DC2FF3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48862A9-D80D-4348-BB0C-3AF15DD8B3C5}">
      <dgm:prSet phldrT="[Text]"/>
      <dgm:spPr/>
      <dgm:t>
        <a:bodyPr/>
        <a:lstStyle/>
        <a:p>
          <a:r>
            <a:rPr lang="en-US" dirty="0"/>
            <a:t>Case Background</a:t>
          </a:r>
        </a:p>
      </dgm:t>
    </dgm:pt>
    <dgm:pt modelId="{3E4B862D-2DCE-487A-9445-7107BFEADB9F}" type="parTrans" cxnId="{11A47F06-82F4-44B5-B196-F9D1BBAE7CC5}">
      <dgm:prSet/>
      <dgm:spPr/>
      <dgm:t>
        <a:bodyPr/>
        <a:lstStyle/>
        <a:p>
          <a:endParaRPr lang="en-US"/>
        </a:p>
      </dgm:t>
    </dgm:pt>
    <dgm:pt modelId="{A4504E69-DB04-4937-8D3B-2E15CEEC5ED8}" type="sibTrans" cxnId="{11A47F06-82F4-44B5-B196-F9D1BBAE7CC5}">
      <dgm:prSet/>
      <dgm:spPr/>
      <dgm:t>
        <a:bodyPr/>
        <a:lstStyle/>
        <a:p>
          <a:endParaRPr lang="en-US"/>
        </a:p>
      </dgm:t>
    </dgm:pt>
    <dgm:pt modelId="{7274467F-4150-4572-AC1A-F8B2D80EC9E8}">
      <dgm:prSet phldrT="[Text]"/>
      <dgm:spPr>
        <a:solidFill>
          <a:srgbClr val="00B0F0"/>
        </a:solidFill>
      </dgm:spPr>
      <dgm:t>
        <a:bodyPr/>
        <a:lstStyle/>
        <a:p>
          <a:r>
            <a:rPr lang="en-US" dirty="0"/>
            <a:t>Analysis Strategy</a:t>
          </a:r>
        </a:p>
      </dgm:t>
    </dgm:pt>
    <dgm:pt modelId="{9162294F-FD39-4BC7-B365-BADAAC4C7445}" type="parTrans" cxnId="{D59A82C9-7D2D-487D-847B-AAD6EFD01D79}">
      <dgm:prSet/>
      <dgm:spPr/>
      <dgm:t>
        <a:bodyPr/>
        <a:lstStyle/>
        <a:p>
          <a:endParaRPr lang="en-US"/>
        </a:p>
      </dgm:t>
    </dgm:pt>
    <dgm:pt modelId="{7F95AD57-36F0-49E8-9154-FBC4D26688F6}" type="sibTrans" cxnId="{D59A82C9-7D2D-487D-847B-AAD6EFD01D79}">
      <dgm:prSet/>
      <dgm:spPr/>
      <dgm:t>
        <a:bodyPr/>
        <a:lstStyle/>
        <a:p>
          <a:endParaRPr lang="en-US"/>
        </a:p>
      </dgm:t>
    </dgm:pt>
    <dgm:pt modelId="{679418C3-5FA7-470B-AD63-6AB7ABEBF17B}">
      <dgm:prSet phldrT="[Text]"/>
      <dgm:spPr/>
      <dgm:t>
        <a:bodyPr/>
        <a:lstStyle/>
        <a:p>
          <a:r>
            <a:rPr lang="en-US" dirty="0"/>
            <a:t>Legal Considerations</a:t>
          </a:r>
        </a:p>
      </dgm:t>
    </dgm:pt>
    <dgm:pt modelId="{0713F5D6-D822-49AC-829D-1B5D12CDD021}" type="parTrans" cxnId="{52D694B7-858D-4E38-B0B2-E4AED8964FBC}">
      <dgm:prSet/>
      <dgm:spPr/>
      <dgm:t>
        <a:bodyPr/>
        <a:lstStyle/>
        <a:p>
          <a:endParaRPr lang="en-US"/>
        </a:p>
      </dgm:t>
    </dgm:pt>
    <dgm:pt modelId="{DF12DDF6-5B50-4504-86A2-021071CBA78F}" type="sibTrans" cxnId="{52D694B7-858D-4E38-B0B2-E4AED8964FBC}">
      <dgm:prSet/>
      <dgm:spPr/>
      <dgm:t>
        <a:bodyPr/>
        <a:lstStyle/>
        <a:p>
          <a:endParaRPr lang="en-US"/>
        </a:p>
      </dgm:t>
    </dgm:pt>
    <dgm:pt modelId="{EF4D71F8-F45C-4E3D-9A35-38863FB65B75}">
      <dgm:prSet phldrT="[Text]"/>
      <dgm:spPr>
        <a:solidFill>
          <a:srgbClr val="FFFF00"/>
        </a:solidFill>
      </dgm:spPr>
      <dgm:t>
        <a:bodyPr/>
        <a:lstStyle/>
        <a:p>
          <a:r>
            <a:rPr lang="en-US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Available Resources</a:t>
          </a:r>
        </a:p>
      </dgm:t>
    </dgm:pt>
    <dgm:pt modelId="{024A3D04-C1FE-48EA-81D0-926071ABC13F}" type="parTrans" cxnId="{DAEAADF5-DB04-45A0-990D-6624E4A8DABF}">
      <dgm:prSet/>
      <dgm:spPr/>
      <dgm:t>
        <a:bodyPr/>
        <a:lstStyle/>
        <a:p>
          <a:endParaRPr lang="en-US"/>
        </a:p>
      </dgm:t>
    </dgm:pt>
    <dgm:pt modelId="{852F6938-5E9B-41B5-A054-DF3DBA88B2D3}" type="sibTrans" cxnId="{DAEAADF5-DB04-45A0-990D-6624E4A8DABF}">
      <dgm:prSet/>
      <dgm:spPr/>
      <dgm:t>
        <a:bodyPr/>
        <a:lstStyle/>
        <a:p>
          <a:endParaRPr lang="en-US"/>
        </a:p>
      </dgm:t>
    </dgm:pt>
    <dgm:pt modelId="{45ADED48-A292-4FD0-8DB0-764C7121A57E}">
      <dgm:prSet phldrT="[Text]"/>
      <dgm:spPr>
        <a:solidFill>
          <a:srgbClr val="002060"/>
        </a:solidFill>
      </dgm:spPr>
      <dgm:t>
        <a:bodyPr/>
        <a:lstStyle/>
        <a:p>
          <a:r>
            <a:rPr lang="en-US" dirty="0"/>
            <a:t>Evidence Scope</a:t>
          </a:r>
        </a:p>
      </dgm:t>
    </dgm:pt>
    <dgm:pt modelId="{07468CBF-F279-4CC0-9EA4-3703C8A41B75}" type="parTrans" cxnId="{C401F521-1648-4D66-BC0C-55B19FD32B15}">
      <dgm:prSet/>
      <dgm:spPr/>
      <dgm:t>
        <a:bodyPr/>
        <a:lstStyle/>
        <a:p>
          <a:endParaRPr lang="en-US"/>
        </a:p>
      </dgm:t>
    </dgm:pt>
    <dgm:pt modelId="{8DA041F1-42D4-41D3-8AE4-623F22CBA821}" type="sibTrans" cxnId="{C401F521-1648-4D66-BC0C-55B19FD32B15}">
      <dgm:prSet/>
      <dgm:spPr/>
      <dgm:t>
        <a:bodyPr/>
        <a:lstStyle/>
        <a:p>
          <a:endParaRPr lang="en-US"/>
        </a:p>
      </dgm:t>
    </dgm:pt>
    <dgm:pt modelId="{82B67D31-3A18-497B-A911-BA68B5E29AB5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/>
            <a:t>Chain of Custody</a:t>
          </a:r>
        </a:p>
      </dgm:t>
    </dgm:pt>
    <dgm:pt modelId="{EAA15F1F-C92D-4416-85F5-7ACBA9D8C7A9}" type="parTrans" cxnId="{AE9C22FF-D696-4589-9DE3-A4E4503A89F6}">
      <dgm:prSet/>
      <dgm:spPr/>
      <dgm:t>
        <a:bodyPr/>
        <a:lstStyle/>
        <a:p>
          <a:endParaRPr lang="en-US"/>
        </a:p>
      </dgm:t>
    </dgm:pt>
    <dgm:pt modelId="{4EFF5F49-B98C-4BC9-A814-2AD4B8FFDF73}" type="sibTrans" cxnId="{AE9C22FF-D696-4589-9DE3-A4E4503A89F6}">
      <dgm:prSet/>
      <dgm:spPr/>
      <dgm:t>
        <a:bodyPr/>
        <a:lstStyle/>
        <a:p>
          <a:endParaRPr lang="en-US"/>
        </a:p>
      </dgm:t>
    </dgm:pt>
    <dgm:pt modelId="{2E6AB781-A535-40B4-8868-FAA47AFB3CD2}">
      <dgm:prSet phldrT="[Text]"/>
      <dgm:spPr>
        <a:solidFill>
          <a:srgbClr val="7030A0"/>
        </a:solidFill>
      </dgm:spPr>
      <dgm:t>
        <a:bodyPr/>
        <a:lstStyle/>
        <a:p>
          <a:r>
            <a:rPr lang="en-US" dirty="0"/>
            <a:t>Timelines and Priorities</a:t>
          </a:r>
        </a:p>
      </dgm:t>
    </dgm:pt>
    <dgm:pt modelId="{2B37FCAA-4EC9-4B70-BFB9-98E56910C658}" type="parTrans" cxnId="{BD23D171-9BFB-46A7-8C01-1EDF9E8573AB}">
      <dgm:prSet/>
      <dgm:spPr/>
      <dgm:t>
        <a:bodyPr/>
        <a:lstStyle/>
        <a:p>
          <a:endParaRPr lang="en-US"/>
        </a:p>
      </dgm:t>
    </dgm:pt>
    <dgm:pt modelId="{E83B77DD-5788-4DB9-A3A9-8C0C5428D48A}" type="sibTrans" cxnId="{BD23D171-9BFB-46A7-8C01-1EDF9E8573AB}">
      <dgm:prSet/>
      <dgm:spPr/>
      <dgm:t>
        <a:bodyPr/>
        <a:lstStyle/>
        <a:p>
          <a:endParaRPr lang="en-US"/>
        </a:p>
      </dgm:t>
    </dgm:pt>
    <dgm:pt modelId="{A713E8F6-2049-427B-8811-4B66BB3D6C14}" type="pres">
      <dgm:prSet presAssocID="{DA21BFDC-D3BC-40F9-832F-EAD218DC2FF3}" presName="diagram" presStyleCnt="0">
        <dgm:presLayoutVars>
          <dgm:dir/>
          <dgm:resizeHandles val="exact"/>
        </dgm:presLayoutVars>
      </dgm:prSet>
      <dgm:spPr/>
    </dgm:pt>
    <dgm:pt modelId="{07366959-D76F-4A13-9415-0E9A5CC6B075}" type="pres">
      <dgm:prSet presAssocID="{F48862A9-D80D-4348-BB0C-3AF15DD8B3C5}" presName="node" presStyleLbl="node1" presStyleIdx="0" presStyleCnt="7">
        <dgm:presLayoutVars>
          <dgm:bulletEnabled val="1"/>
        </dgm:presLayoutVars>
      </dgm:prSet>
      <dgm:spPr>
        <a:prstGeom prst="ellipse">
          <a:avLst/>
        </a:prstGeom>
      </dgm:spPr>
    </dgm:pt>
    <dgm:pt modelId="{FB9D45C3-61C8-47E0-84F9-A63245F030F2}" type="pres">
      <dgm:prSet presAssocID="{A4504E69-DB04-4937-8D3B-2E15CEEC5ED8}" presName="sibTrans" presStyleCnt="0"/>
      <dgm:spPr/>
    </dgm:pt>
    <dgm:pt modelId="{0E3ADD93-F9CB-43AE-BE33-FDCB52FC2F27}" type="pres">
      <dgm:prSet presAssocID="{679418C3-5FA7-470B-AD63-6AB7ABEBF17B}" presName="node" presStyleLbl="node1" presStyleIdx="1" presStyleCnt="7">
        <dgm:presLayoutVars>
          <dgm:bulletEnabled val="1"/>
        </dgm:presLayoutVars>
      </dgm:prSet>
      <dgm:spPr/>
    </dgm:pt>
    <dgm:pt modelId="{730D0E6D-D737-4BBE-9AE1-75E3EDBC5B67}" type="pres">
      <dgm:prSet presAssocID="{DF12DDF6-5B50-4504-86A2-021071CBA78F}" presName="sibTrans" presStyleCnt="0"/>
      <dgm:spPr/>
    </dgm:pt>
    <dgm:pt modelId="{5922316A-715A-4EAB-B03A-2810692CA883}" type="pres">
      <dgm:prSet presAssocID="{EF4D71F8-F45C-4E3D-9A35-38863FB65B75}" presName="node" presStyleLbl="node1" presStyleIdx="2" presStyleCnt="7">
        <dgm:presLayoutVars>
          <dgm:bulletEnabled val="1"/>
        </dgm:presLayoutVars>
      </dgm:prSet>
      <dgm:spPr/>
    </dgm:pt>
    <dgm:pt modelId="{8DA11EB6-74F0-4421-A31D-18D57A09FA35}" type="pres">
      <dgm:prSet presAssocID="{852F6938-5E9B-41B5-A054-DF3DBA88B2D3}" presName="sibTrans" presStyleCnt="0"/>
      <dgm:spPr/>
    </dgm:pt>
    <dgm:pt modelId="{7AC1052C-ED22-4786-8D12-DCFD78040927}" type="pres">
      <dgm:prSet presAssocID="{45ADED48-A292-4FD0-8DB0-764C7121A57E}" presName="node" presStyleLbl="node1" presStyleIdx="3" presStyleCnt="7">
        <dgm:presLayoutVars>
          <dgm:bulletEnabled val="1"/>
        </dgm:presLayoutVars>
      </dgm:prSet>
      <dgm:spPr>
        <a:prstGeom prst="diamond">
          <a:avLst/>
        </a:prstGeom>
      </dgm:spPr>
    </dgm:pt>
    <dgm:pt modelId="{7603738D-26FA-408C-997F-D18AE23003BC}" type="pres">
      <dgm:prSet presAssocID="{8DA041F1-42D4-41D3-8AE4-623F22CBA821}" presName="sibTrans" presStyleCnt="0"/>
      <dgm:spPr/>
    </dgm:pt>
    <dgm:pt modelId="{F514E1FB-DC82-40DD-9F05-2551BB508E76}" type="pres">
      <dgm:prSet presAssocID="{82B67D31-3A18-497B-A911-BA68B5E29AB5}" presName="node" presStyleLbl="node1" presStyleIdx="4" presStyleCnt="7">
        <dgm:presLayoutVars>
          <dgm:bulletEnabled val="1"/>
        </dgm:presLayoutVars>
      </dgm:prSet>
      <dgm:spPr/>
    </dgm:pt>
    <dgm:pt modelId="{ECE30304-1D86-4053-8D06-4A6DC6342689}" type="pres">
      <dgm:prSet presAssocID="{4EFF5F49-B98C-4BC9-A814-2AD4B8FFDF73}" presName="sibTrans" presStyleCnt="0"/>
      <dgm:spPr/>
    </dgm:pt>
    <dgm:pt modelId="{58E21AF1-5511-483F-9C3A-B13F028842FE}" type="pres">
      <dgm:prSet presAssocID="{2E6AB781-A535-40B4-8868-FAA47AFB3CD2}" presName="node" presStyleLbl="node1" presStyleIdx="5" presStyleCnt="7">
        <dgm:presLayoutVars>
          <dgm:bulletEnabled val="1"/>
        </dgm:presLayoutVars>
      </dgm:prSet>
      <dgm:spPr/>
    </dgm:pt>
    <dgm:pt modelId="{E6E7229C-DE34-4063-9092-A6EAF74F5D08}" type="pres">
      <dgm:prSet presAssocID="{E83B77DD-5788-4DB9-A3A9-8C0C5428D48A}" presName="sibTrans" presStyleCnt="0"/>
      <dgm:spPr/>
    </dgm:pt>
    <dgm:pt modelId="{1DCE241F-BBE8-489E-ACE5-7A47D7EDF30D}" type="pres">
      <dgm:prSet presAssocID="{7274467F-4150-4572-AC1A-F8B2D80EC9E8}" presName="node" presStyleLbl="node1" presStyleIdx="6" presStyleCnt="7">
        <dgm:presLayoutVars>
          <dgm:bulletEnabled val="1"/>
        </dgm:presLayoutVars>
      </dgm:prSet>
      <dgm:spPr/>
    </dgm:pt>
  </dgm:ptLst>
  <dgm:cxnLst>
    <dgm:cxn modelId="{11A47F06-82F4-44B5-B196-F9D1BBAE7CC5}" srcId="{DA21BFDC-D3BC-40F9-832F-EAD218DC2FF3}" destId="{F48862A9-D80D-4348-BB0C-3AF15DD8B3C5}" srcOrd="0" destOrd="0" parTransId="{3E4B862D-2DCE-487A-9445-7107BFEADB9F}" sibTransId="{A4504E69-DB04-4937-8D3B-2E15CEEC5ED8}"/>
    <dgm:cxn modelId="{C401F521-1648-4D66-BC0C-55B19FD32B15}" srcId="{DA21BFDC-D3BC-40F9-832F-EAD218DC2FF3}" destId="{45ADED48-A292-4FD0-8DB0-764C7121A57E}" srcOrd="3" destOrd="0" parTransId="{07468CBF-F279-4CC0-9EA4-3703C8A41B75}" sibTransId="{8DA041F1-42D4-41D3-8AE4-623F22CBA821}"/>
    <dgm:cxn modelId="{A00F0F48-22FA-4074-A449-E560054577B1}" type="presOf" srcId="{82B67D31-3A18-497B-A911-BA68B5E29AB5}" destId="{F514E1FB-DC82-40DD-9F05-2551BB508E76}" srcOrd="0" destOrd="0" presId="urn:microsoft.com/office/officeart/2005/8/layout/default"/>
    <dgm:cxn modelId="{C1018649-06A9-4ADA-94D7-B97251A9ED00}" type="presOf" srcId="{DA21BFDC-D3BC-40F9-832F-EAD218DC2FF3}" destId="{A713E8F6-2049-427B-8811-4B66BB3D6C14}" srcOrd="0" destOrd="0" presId="urn:microsoft.com/office/officeart/2005/8/layout/default"/>
    <dgm:cxn modelId="{6E86E14C-BA3D-4542-B31F-882A1F17077E}" type="presOf" srcId="{45ADED48-A292-4FD0-8DB0-764C7121A57E}" destId="{7AC1052C-ED22-4786-8D12-DCFD78040927}" srcOrd="0" destOrd="0" presId="urn:microsoft.com/office/officeart/2005/8/layout/default"/>
    <dgm:cxn modelId="{BD23D171-9BFB-46A7-8C01-1EDF9E8573AB}" srcId="{DA21BFDC-D3BC-40F9-832F-EAD218DC2FF3}" destId="{2E6AB781-A535-40B4-8868-FAA47AFB3CD2}" srcOrd="5" destOrd="0" parTransId="{2B37FCAA-4EC9-4B70-BFB9-98E56910C658}" sibTransId="{E83B77DD-5788-4DB9-A3A9-8C0C5428D48A}"/>
    <dgm:cxn modelId="{2C88575A-BA22-419B-99CF-A671F692AE88}" type="presOf" srcId="{7274467F-4150-4572-AC1A-F8B2D80EC9E8}" destId="{1DCE241F-BBE8-489E-ACE5-7A47D7EDF30D}" srcOrd="0" destOrd="0" presId="urn:microsoft.com/office/officeart/2005/8/layout/default"/>
    <dgm:cxn modelId="{54F4167B-496C-4FFC-B74B-404A38FC86EA}" type="presOf" srcId="{679418C3-5FA7-470B-AD63-6AB7ABEBF17B}" destId="{0E3ADD93-F9CB-43AE-BE33-FDCB52FC2F27}" srcOrd="0" destOrd="0" presId="urn:microsoft.com/office/officeart/2005/8/layout/default"/>
    <dgm:cxn modelId="{FABCFDB5-5740-4A88-ADC3-040F4698AAF1}" type="presOf" srcId="{F48862A9-D80D-4348-BB0C-3AF15DD8B3C5}" destId="{07366959-D76F-4A13-9415-0E9A5CC6B075}" srcOrd="0" destOrd="0" presId="urn:microsoft.com/office/officeart/2005/8/layout/default"/>
    <dgm:cxn modelId="{52D694B7-858D-4E38-B0B2-E4AED8964FBC}" srcId="{DA21BFDC-D3BC-40F9-832F-EAD218DC2FF3}" destId="{679418C3-5FA7-470B-AD63-6AB7ABEBF17B}" srcOrd="1" destOrd="0" parTransId="{0713F5D6-D822-49AC-829D-1B5D12CDD021}" sibTransId="{DF12DDF6-5B50-4504-86A2-021071CBA78F}"/>
    <dgm:cxn modelId="{D59A82C9-7D2D-487D-847B-AAD6EFD01D79}" srcId="{DA21BFDC-D3BC-40F9-832F-EAD218DC2FF3}" destId="{7274467F-4150-4572-AC1A-F8B2D80EC9E8}" srcOrd="6" destOrd="0" parTransId="{9162294F-FD39-4BC7-B365-BADAAC4C7445}" sibTransId="{7F95AD57-36F0-49E8-9154-FBC4D26688F6}"/>
    <dgm:cxn modelId="{2B7BEBDB-DCA0-4B52-A9F1-D981B03A89C2}" type="presOf" srcId="{EF4D71F8-F45C-4E3D-9A35-38863FB65B75}" destId="{5922316A-715A-4EAB-B03A-2810692CA883}" srcOrd="0" destOrd="0" presId="urn:microsoft.com/office/officeart/2005/8/layout/default"/>
    <dgm:cxn modelId="{DBE27CE7-C733-4B44-936B-62A7D57B013A}" type="presOf" srcId="{2E6AB781-A535-40B4-8868-FAA47AFB3CD2}" destId="{58E21AF1-5511-483F-9C3A-B13F028842FE}" srcOrd="0" destOrd="0" presId="urn:microsoft.com/office/officeart/2005/8/layout/default"/>
    <dgm:cxn modelId="{DAEAADF5-DB04-45A0-990D-6624E4A8DABF}" srcId="{DA21BFDC-D3BC-40F9-832F-EAD218DC2FF3}" destId="{EF4D71F8-F45C-4E3D-9A35-38863FB65B75}" srcOrd="2" destOrd="0" parTransId="{024A3D04-C1FE-48EA-81D0-926071ABC13F}" sibTransId="{852F6938-5E9B-41B5-A054-DF3DBA88B2D3}"/>
    <dgm:cxn modelId="{AE9C22FF-D696-4589-9DE3-A4E4503A89F6}" srcId="{DA21BFDC-D3BC-40F9-832F-EAD218DC2FF3}" destId="{82B67D31-3A18-497B-A911-BA68B5E29AB5}" srcOrd="4" destOrd="0" parTransId="{EAA15F1F-C92D-4416-85F5-7ACBA9D8C7A9}" sibTransId="{4EFF5F49-B98C-4BC9-A814-2AD4B8FFDF73}"/>
    <dgm:cxn modelId="{C1C985EA-4E3E-4840-BB99-0DF436F7AF25}" type="presParOf" srcId="{A713E8F6-2049-427B-8811-4B66BB3D6C14}" destId="{07366959-D76F-4A13-9415-0E9A5CC6B075}" srcOrd="0" destOrd="0" presId="urn:microsoft.com/office/officeart/2005/8/layout/default"/>
    <dgm:cxn modelId="{18E38A78-CCD9-4059-8B91-FD33EE6F114F}" type="presParOf" srcId="{A713E8F6-2049-427B-8811-4B66BB3D6C14}" destId="{FB9D45C3-61C8-47E0-84F9-A63245F030F2}" srcOrd="1" destOrd="0" presId="urn:microsoft.com/office/officeart/2005/8/layout/default"/>
    <dgm:cxn modelId="{FDE3E40E-98C6-40B0-9699-02B7A5EAFED9}" type="presParOf" srcId="{A713E8F6-2049-427B-8811-4B66BB3D6C14}" destId="{0E3ADD93-F9CB-43AE-BE33-FDCB52FC2F27}" srcOrd="2" destOrd="0" presId="urn:microsoft.com/office/officeart/2005/8/layout/default"/>
    <dgm:cxn modelId="{5557D1FE-64C4-44F9-B82B-D48ADE3DD036}" type="presParOf" srcId="{A713E8F6-2049-427B-8811-4B66BB3D6C14}" destId="{730D0E6D-D737-4BBE-9AE1-75E3EDBC5B67}" srcOrd="3" destOrd="0" presId="urn:microsoft.com/office/officeart/2005/8/layout/default"/>
    <dgm:cxn modelId="{A5E3017D-4179-41F2-A2B5-3C209008BACD}" type="presParOf" srcId="{A713E8F6-2049-427B-8811-4B66BB3D6C14}" destId="{5922316A-715A-4EAB-B03A-2810692CA883}" srcOrd="4" destOrd="0" presId="urn:microsoft.com/office/officeart/2005/8/layout/default"/>
    <dgm:cxn modelId="{4386E1CB-97F5-48DA-B43D-FBD1C9520D37}" type="presParOf" srcId="{A713E8F6-2049-427B-8811-4B66BB3D6C14}" destId="{8DA11EB6-74F0-4421-A31D-18D57A09FA35}" srcOrd="5" destOrd="0" presId="urn:microsoft.com/office/officeart/2005/8/layout/default"/>
    <dgm:cxn modelId="{187AFC5F-E402-4CF3-ACA3-C74A068DF95F}" type="presParOf" srcId="{A713E8F6-2049-427B-8811-4B66BB3D6C14}" destId="{7AC1052C-ED22-4786-8D12-DCFD78040927}" srcOrd="6" destOrd="0" presId="urn:microsoft.com/office/officeart/2005/8/layout/default"/>
    <dgm:cxn modelId="{4E3A71E3-EB2C-4C17-96A4-9930C6117EFB}" type="presParOf" srcId="{A713E8F6-2049-427B-8811-4B66BB3D6C14}" destId="{7603738D-26FA-408C-997F-D18AE23003BC}" srcOrd="7" destOrd="0" presId="urn:microsoft.com/office/officeart/2005/8/layout/default"/>
    <dgm:cxn modelId="{32B2471B-BB4C-4779-9F68-8BD313B7A5EC}" type="presParOf" srcId="{A713E8F6-2049-427B-8811-4B66BB3D6C14}" destId="{F514E1FB-DC82-40DD-9F05-2551BB508E76}" srcOrd="8" destOrd="0" presId="urn:microsoft.com/office/officeart/2005/8/layout/default"/>
    <dgm:cxn modelId="{EF528FC9-5F9D-489A-A041-3F7DC09A3169}" type="presParOf" srcId="{A713E8F6-2049-427B-8811-4B66BB3D6C14}" destId="{ECE30304-1D86-4053-8D06-4A6DC6342689}" srcOrd="9" destOrd="0" presId="urn:microsoft.com/office/officeart/2005/8/layout/default"/>
    <dgm:cxn modelId="{9D57C0D4-080E-4971-8E74-EF91E0A4AF6F}" type="presParOf" srcId="{A713E8F6-2049-427B-8811-4B66BB3D6C14}" destId="{58E21AF1-5511-483F-9C3A-B13F028842FE}" srcOrd="10" destOrd="0" presId="urn:microsoft.com/office/officeart/2005/8/layout/default"/>
    <dgm:cxn modelId="{65BB6EE2-EAFC-4224-847D-F18A8522CF3C}" type="presParOf" srcId="{A713E8F6-2049-427B-8811-4B66BB3D6C14}" destId="{E6E7229C-DE34-4063-9092-A6EAF74F5D08}" srcOrd="11" destOrd="0" presId="urn:microsoft.com/office/officeart/2005/8/layout/default"/>
    <dgm:cxn modelId="{FF8BFF6D-4AB6-453D-8D30-6BB7B1373F2C}" type="presParOf" srcId="{A713E8F6-2049-427B-8811-4B66BB3D6C14}" destId="{1DCE241F-BBE8-489E-ACE5-7A47D7EDF30D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1976A8-08C4-4CE8-A0F4-F72673F430DE}" type="doc">
      <dgm:prSet loTypeId="urn:microsoft.com/office/officeart/2005/8/layout/rings+Icon" loCatId="officeonline" qsTypeId="urn:microsoft.com/office/officeart/2005/8/quickstyle/simple1" qsCatId="simple" csTypeId="urn:microsoft.com/office/officeart/2005/8/colors/accent1_2" csCatId="accent1" phldr="1"/>
      <dgm:spPr/>
    </dgm:pt>
    <dgm:pt modelId="{A2071CDB-BE4A-483B-8B61-F918EF896C07}">
      <dgm:prSet phldrT="[Text]"/>
      <dgm:spPr/>
      <dgm:t>
        <a:bodyPr/>
        <a:lstStyle/>
        <a:p>
          <a:r>
            <a:rPr lang="en-US" dirty="0"/>
            <a:t>Volatile Data</a:t>
          </a:r>
        </a:p>
      </dgm:t>
    </dgm:pt>
    <dgm:pt modelId="{0790A45C-C460-4BDC-8422-6BD8E7A623EE}" type="parTrans" cxnId="{8416B61C-4EA0-401F-BFAE-3E3ED9536784}">
      <dgm:prSet/>
      <dgm:spPr/>
      <dgm:t>
        <a:bodyPr/>
        <a:lstStyle/>
        <a:p>
          <a:endParaRPr lang="en-US"/>
        </a:p>
      </dgm:t>
    </dgm:pt>
    <dgm:pt modelId="{BE2BC9D6-2E1D-49DB-8413-C1AC10756EA4}" type="sibTrans" cxnId="{8416B61C-4EA0-401F-BFAE-3E3ED9536784}">
      <dgm:prSet/>
      <dgm:spPr/>
      <dgm:t>
        <a:bodyPr/>
        <a:lstStyle/>
        <a:p>
          <a:endParaRPr lang="en-US"/>
        </a:p>
      </dgm:t>
    </dgm:pt>
    <dgm:pt modelId="{27234982-DF29-4F68-8FD4-57C3C078580D}">
      <dgm:prSet phldrT="[Text]"/>
      <dgm:spPr/>
      <dgm:t>
        <a:bodyPr/>
        <a:lstStyle/>
        <a:p>
          <a:r>
            <a:rPr lang="en-US" dirty="0"/>
            <a:t>Non-Volatile Data</a:t>
          </a:r>
        </a:p>
      </dgm:t>
    </dgm:pt>
    <dgm:pt modelId="{F51E951F-4991-48BB-ABAF-C0FC49E0BD49}" type="parTrans" cxnId="{B7915A31-F0EB-402B-8D45-8E81F7657252}">
      <dgm:prSet/>
      <dgm:spPr/>
      <dgm:t>
        <a:bodyPr/>
        <a:lstStyle/>
        <a:p>
          <a:endParaRPr lang="en-US"/>
        </a:p>
      </dgm:t>
    </dgm:pt>
    <dgm:pt modelId="{0C8D2070-3DC6-4C28-A34E-3B6A0DFE8604}" type="sibTrans" cxnId="{B7915A31-F0EB-402B-8D45-8E81F7657252}">
      <dgm:prSet/>
      <dgm:spPr/>
      <dgm:t>
        <a:bodyPr/>
        <a:lstStyle/>
        <a:p>
          <a:endParaRPr lang="en-US"/>
        </a:p>
      </dgm:t>
    </dgm:pt>
    <dgm:pt modelId="{2F879AEE-31BF-4C89-8DB2-ABB4A0DAA0E7}" type="pres">
      <dgm:prSet presAssocID="{C21976A8-08C4-4CE8-A0F4-F72673F430DE}" presName="Name0" presStyleCnt="0">
        <dgm:presLayoutVars>
          <dgm:chMax val="7"/>
          <dgm:dir/>
          <dgm:resizeHandles val="exact"/>
        </dgm:presLayoutVars>
      </dgm:prSet>
      <dgm:spPr/>
    </dgm:pt>
    <dgm:pt modelId="{8A09B49F-D1FA-4B99-83F2-CFD1DA311161}" type="pres">
      <dgm:prSet presAssocID="{C21976A8-08C4-4CE8-A0F4-F72673F430DE}" presName="ellipse1" presStyleLbl="vennNode1" presStyleIdx="0" presStyleCnt="2">
        <dgm:presLayoutVars>
          <dgm:bulletEnabled val="1"/>
        </dgm:presLayoutVars>
      </dgm:prSet>
      <dgm:spPr/>
    </dgm:pt>
    <dgm:pt modelId="{2AE3DB09-20FA-44DF-B9E4-2B0EB018D79D}" type="pres">
      <dgm:prSet presAssocID="{C21976A8-08C4-4CE8-A0F4-F72673F430DE}" presName="ellipse2" presStyleLbl="vennNode1" presStyleIdx="1" presStyleCnt="2">
        <dgm:presLayoutVars>
          <dgm:bulletEnabled val="1"/>
        </dgm:presLayoutVars>
      </dgm:prSet>
      <dgm:spPr/>
    </dgm:pt>
  </dgm:ptLst>
  <dgm:cxnLst>
    <dgm:cxn modelId="{A76CA104-2B10-4774-98EB-61E768C81D5A}" type="presOf" srcId="{A2071CDB-BE4A-483B-8B61-F918EF896C07}" destId="{8A09B49F-D1FA-4B99-83F2-CFD1DA311161}" srcOrd="0" destOrd="0" presId="urn:microsoft.com/office/officeart/2005/8/layout/rings+Icon"/>
    <dgm:cxn modelId="{8416B61C-4EA0-401F-BFAE-3E3ED9536784}" srcId="{C21976A8-08C4-4CE8-A0F4-F72673F430DE}" destId="{A2071CDB-BE4A-483B-8B61-F918EF896C07}" srcOrd="0" destOrd="0" parTransId="{0790A45C-C460-4BDC-8422-6BD8E7A623EE}" sibTransId="{BE2BC9D6-2E1D-49DB-8413-C1AC10756EA4}"/>
    <dgm:cxn modelId="{FDBEF520-D8A2-4FD0-B37B-12CAAB9E8BAF}" type="presOf" srcId="{27234982-DF29-4F68-8FD4-57C3C078580D}" destId="{2AE3DB09-20FA-44DF-B9E4-2B0EB018D79D}" srcOrd="0" destOrd="0" presId="urn:microsoft.com/office/officeart/2005/8/layout/rings+Icon"/>
    <dgm:cxn modelId="{B7915A31-F0EB-402B-8D45-8E81F7657252}" srcId="{C21976A8-08C4-4CE8-A0F4-F72673F430DE}" destId="{27234982-DF29-4F68-8FD4-57C3C078580D}" srcOrd="1" destOrd="0" parTransId="{F51E951F-4991-48BB-ABAF-C0FC49E0BD49}" sibTransId="{0C8D2070-3DC6-4C28-A34E-3B6A0DFE8604}"/>
    <dgm:cxn modelId="{15E7ADED-992A-47C0-8498-EA717F0847D3}" type="presOf" srcId="{C21976A8-08C4-4CE8-A0F4-F72673F430DE}" destId="{2F879AEE-31BF-4C89-8DB2-ABB4A0DAA0E7}" srcOrd="0" destOrd="0" presId="urn:microsoft.com/office/officeart/2005/8/layout/rings+Icon"/>
    <dgm:cxn modelId="{25E45D22-175A-405C-B93B-0448A3E10627}" type="presParOf" srcId="{2F879AEE-31BF-4C89-8DB2-ABB4A0DAA0E7}" destId="{8A09B49F-D1FA-4B99-83F2-CFD1DA311161}" srcOrd="0" destOrd="0" presId="urn:microsoft.com/office/officeart/2005/8/layout/rings+Icon"/>
    <dgm:cxn modelId="{42FB0BB6-1258-4D52-B133-FCBF02689FFB}" type="presParOf" srcId="{2F879AEE-31BF-4C89-8DB2-ABB4A0DAA0E7}" destId="{2AE3DB09-20FA-44DF-B9E4-2B0EB018D79D}" srcOrd="1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21976A8-08C4-4CE8-A0F4-F72673F430DE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</dgm:pt>
    <dgm:pt modelId="{A2071CDB-BE4A-483B-8B61-F918EF896C07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roof of an Act</a:t>
          </a:r>
        </a:p>
      </dgm:t>
    </dgm:pt>
    <dgm:pt modelId="{0790A45C-C460-4BDC-8422-6BD8E7A623EE}" type="parTrans" cxnId="{8416B61C-4EA0-401F-BFAE-3E3ED9536784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BE2BC9D6-2E1D-49DB-8413-C1AC10756EA4}" type="sibTrans" cxnId="{8416B61C-4EA0-401F-BFAE-3E3ED9536784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9BC4F603-E509-4CF8-99C1-87DC07561A87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Corroborative Evidence</a:t>
          </a:r>
        </a:p>
      </dgm:t>
    </dgm:pt>
    <dgm:pt modelId="{C8EEC439-8761-4C8E-B637-470923449857}" type="parTrans" cxnId="{3851932C-2D16-4823-AF53-20ED124C30CB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530FB48-24E6-47AF-9938-435A181620F6}" type="sibTrans" cxnId="{3851932C-2D16-4823-AF53-20ED124C30CB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8DE7DD0-B0A3-489C-B616-9EF841AA4CE6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Contradictory Evidence</a:t>
          </a:r>
        </a:p>
      </dgm:t>
    </dgm:pt>
    <dgm:pt modelId="{8A672F8A-27C6-4330-BC61-5EB715F37ED9}" type="parTrans" cxnId="{016EC5B2-37A0-41D6-B037-ED22553EEEFD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E2885C5-F0E6-4239-A04D-C83A96605792}" type="sibTrans" cxnId="{016EC5B2-37A0-41D6-B037-ED22553EEEFD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F60A8D64-1945-4CCE-8D89-E9ED1C67456D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Linking Evidence</a:t>
          </a:r>
        </a:p>
      </dgm:t>
    </dgm:pt>
    <dgm:pt modelId="{E0CBC350-19EA-4226-90DE-9D2D14BE9CEE}" type="parTrans" cxnId="{73A15481-452E-4CF2-A888-EB5065E02B5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B0D26F87-6A40-46F6-BE0E-341ACEEC9C03}" type="sibTrans" cxnId="{73A15481-452E-4CF2-A888-EB5065E02B5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A13241D6-9DE2-4AB2-AF81-694DBE430219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Exculpatory Evidence</a:t>
          </a:r>
        </a:p>
      </dgm:t>
    </dgm:pt>
    <dgm:pt modelId="{F9C45346-2882-4ED0-9665-A9CAD6014700}" type="parTrans" cxnId="{D74E056A-95B3-46DE-B1C3-C89D8B9FFA2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74F6B10-6C98-4FE5-998B-F7EF076C4D47}" type="sibTrans" cxnId="{D74E056A-95B3-46DE-B1C3-C89D8B9FFA29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0B034C84-47C5-4175-8C02-3D5D0A537896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Contextual Evidence</a:t>
          </a:r>
        </a:p>
      </dgm:t>
    </dgm:pt>
    <dgm:pt modelId="{30CB3FB6-3FC2-4114-8A59-73D958A07114}" type="parTrans" cxnId="{8ECA99FD-1959-41E6-AD00-1911CECE001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695CDDD8-94D3-4AA0-9F85-F02BD30D620A}" type="sibTrans" cxnId="{8ECA99FD-1959-41E6-AD00-1911CECE0011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5DBE31C-5963-4D74-B70C-429AB360A865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Timeline Construction</a:t>
          </a:r>
        </a:p>
      </dgm:t>
    </dgm:pt>
    <dgm:pt modelId="{648B3B4A-45C4-4EE5-8F76-CDF98BF4C9DF}" type="parTrans" cxnId="{A31A62C7-DAF8-4F5C-8758-778E91ED23FB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DED30255-BDA6-4B89-9AA4-08BC3A632BA8}" type="sibTrans" cxnId="{A31A62C7-DAF8-4F5C-8758-778E91ED23FB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B9A1577-0849-42DA-A842-DDC8EB92121D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Identity Verification</a:t>
          </a:r>
        </a:p>
      </dgm:t>
    </dgm:pt>
    <dgm:pt modelId="{6F556399-6333-4120-B014-F85469EE8EB7}" type="parTrans" cxnId="{4D988C1D-F510-4587-B35A-40516C6165B2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8EBF384C-B1D5-48BB-9866-68A632BE568C}" type="sibTrans" cxnId="{4D988C1D-F510-4587-B35A-40516C6165B2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232AC56D-D6A1-41DE-B888-B55F734E6267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olicy Verification</a:t>
          </a:r>
        </a:p>
      </dgm:t>
    </dgm:pt>
    <dgm:pt modelId="{3A791D89-A9D5-4921-B314-5BA7487A7BEE}" type="parTrans" cxnId="{0DFA0F3B-6E01-431A-B31D-E4D776B1232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33606C6F-DEAD-4EE4-9804-9C3D3E8D96BB}" type="sibTrans" cxnId="{0DFA0F3B-6E01-431A-B31D-E4D776B1232A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5641160E-1549-49BD-A9DE-3BF1CDD7CBBE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Compliance Verification</a:t>
          </a:r>
        </a:p>
      </dgm:t>
    </dgm:pt>
    <dgm:pt modelId="{0104C2A1-8823-4551-BE19-89E901A65E8E}" type="parTrans" cxnId="{E2B6927F-558B-4F3E-B0FE-5A779A495D3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49B8FEBC-AC39-4F49-A24D-979C91476C8D}" type="sibTrans" cxnId="{E2B6927F-558B-4F3E-B0FE-5A779A495D33}">
      <dgm:prSet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B7A7516-C35C-49D6-ADEA-558CA3E46C4B}" type="pres">
      <dgm:prSet presAssocID="{C21976A8-08C4-4CE8-A0F4-F72673F430DE}" presName="diagram" presStyleCnt="0">
        <dgm:presLayoutVars>
          <dgm:dir/>
          <dgm:resizeHandles val="exact"/>
        </dgm:presLayoutVars>
      </dgm:prSet>
      <dgm:spPr/>
    </dgm:pt>
    <dgm:pt modelId="{2F2C0091-D969-4558-B8DA-74DFF461330F}" type="pres">
      <dgm:prSet presAssocID="{A2071CDB-BE4A-483B-8B61-F918EF896C07}" presName="node" presStyleLbl="node1" presStyleIdx="0" presStyleCnt="10">
        <dgm:presLayoutVars>
          <dgm:bulletEnabled val="1"/>
        </dgm:presLayoutVars>
      </dgm:prSet>
      <dgm:spPr/>
    </dgm:pt>
    <dgm:pt modelId="{03D161EE-709B-4DA8-8A34-6670A27352C8}" type="pres">
      <dgm:prSet presAssocID="{BE2BC9D6-2E1D-49DB-8413-C1AC10756EA4}" presName="sibTrans" presStyleCnt="0"/>
      <dgm:spPr/>
    </dgm:pt>
    <dgm:pt modelId="{FB7F18AD-EB0F-4AFF-9C45-D98D51D992EA}" type="pres">
      <dgm:prSet presAssocID="{9BC4F603-E509-4CF8-99C1-87DC07561A87}" presName="node" presStyleLbl="node1" presStyleIdx="1" presStyleCnt="10">
        <dgm:presLayoutVars>
          <dgm:bulletEnabled val="1"/>
        </dgm:presLayoutVars>
      </dgm:prSet>
      <dgm:spPr/>
    </dgm:pt>
    <dgm:pt modelId="{3D688E00-28C3-4BC8-AFA8-BF6C76AB31BA}" type="pres">
      <dgm:prSet presAssocID="{5530FB48-24E6-47AF-9938-435A181620F6}" presName="sibTrans" presStyleCnt="0"/>
      <dgm:spPr/>
    </dgm:pt>
    <dgm:pt modelId="{24E6BF6C-541B-4396-9949-CF45A13FFFB4}" type="pres">
      <dgm:prSet presAssocID="{58DE7DD0-B0A3-489C-B616-9EF841AA4CE6}" presName="node" presStyleLbl="node1" presStyleIdx="2" presStyleCnt="10">
        <dgm:presLayoutVars>
          <dgm:bulletEnabled val="1"/>
        </dgm:presLayoutVars>
      </dgm:prSet>
      <dgm:spPr/>
    </dgm:pt>
    <dgm:pt modelId="{F707ADB1-98CE-40B9-AEB6-8896335ACF46}" type="pres">
      <dgm:prSet presAssocID="{6E2885C5-F0E6-4239-A04D-C83A96605792}" presName="sibTrans" presStyleCnt="0"/>
      <dgm:spPr/>
    </dgm:pt>
    <dgm:pt modelId="{168F3565-7741-4CFC-A8EE-A5CB1A337FBD}" type="pres">
      <dgm:prSet presAssocID="{F60A8D64-1945-4CCE-8D89-E9ED1C67456D}" presName="node" presStyleLbl="node1" presStyleIdx="3" presStyleCnt="10">
        <dgm:presLayoutVars>
          <dgm:bulletEnabled val="1"/>
        </dgm:presLayoutVars>
      </dgm:prSet>
      <dgm:spPr/>
    </dgm:pt>
    <dgm:pt modelId="{3A177855-A8D2-4AE5-9150-A5E59FBEFB9F}" type="pres">
      <dgm:prSet presAssocID="{B0D26F87-6A40-46F6-BE0E-341ACEEC9C03}" presName="sibTrans" presStyleCnt="0"/>
      <dgm:spPr/>
    </dgm:pt>
    <dgm:pt modelId="{0C52B8C4-02D4-426E-86CB-84077A71270F}" type="pres">
      <dgm:prSet presAssocID="{A13241D6-9DE2-4AB2-AF81-694DBE430219}" presName="node" presStyleLbl="node1" presStyleIdx="4" presStyleCnt="10">
        <dgm:presLayoutVars>
          <dgm:bulletEnabled val="1"/>
        </dgm:presLayoutVars>
      </dgm:prSet>
      <dgm:spPr/>
    </dgm:pt>
    <dgm:pt modelId="{A5174903-F42A-4228-BE50-B46321D1E84F}" type="pres">
      <dgm:prSet presAssocID="{474F6B10-6C98-4FE5-998B-F7EF076C4D47}" presName="sibTrans" presStyleCnt="0"/>
      <dgm:spPr/>
    </dgm:pt>
    <dgm:pt modelId="{12217ADE-50CE-4C05-9B64-D9078F5107DA}" type="pres">
      <dgm:prSet presAssocID="{0B034C84-47C5-4175-8C02-3D5D0A537896}" presName="node" presStyleLbl="node1" presStyleIdx="5" presStyleCnt="10">
        <dgm:presLayoutVars>
          <dgm:bulletEnabled val="1"/>
        </dgm:presLayoutVars>
      </dgm:prSet>
      <dgm:spPr/>
    </dgm:pt>
    <dgm:pt modelId="{CD501BF7-5EF3-418B-B096-9BF156EA7738}" type="pres">
      <dgm:prSet presAssocID="{695CDDD8-94D3-4AA0-9F85-F02BD30D620A}" presName="sibTrans" presStyleCnt="0"/>
      <dgm:spPr/>
    </dgm:pt>
    <dgm:pt modelId="{FCE0259D-5B0E-4930-A6BA-4A3ED79CE6E2}" type="pres">
      <dgm:prSet presAssocID="{D5DBE31C-5963-4D74-B70C-429AB360A865}" presName="node" presStyleLbl="node1" presStyleIdx="6" presStyleCnt="10">
        <dgm:presLayoutVars>
          <dgm:bulletEnabled val="1"/>
        </dgm:presLayoutVars>
      </dgm:prSet>
      <dgm:spPr/>
    </dgm:pt>
    <dgm:pt modelId="{ADB6182C-75DD-4E01-8ECC-4A99D560CB8E}" type="pres">
      <dgm:prSet presAssocID="{DED30255-BDA6-4B89-9AA4-08BC3A632BA8}" presName="sibTrans" presStyleCnt="0"/>
      <dgm:spPr/>
    </dgm:pt>
    <dgm:pt modelId="{E4D02184-ACE9-4439-8C6A-00AC71B43248}" type="pres">
      <dgm:prSet presAssocID="{8B9A1577-0849-42DA-A842-DDC8EB92121D}" presName="node" presStyleLbl="node1" presStyleIdx="7" presStyleCnt="10">
        <dgm:presLayoutVars>
          <dgm:bulletEnabled val="1"/>
        </dgm:presLayoutVars>
      </dgm:prSet>
      <dgm:spPr/>
    </dgm:pt>
    <dgm:pt modelId="{81ACB922-2CC4-48DB-8858-6A78EAEB2B3B}" type="pres">
      <dgm:prSet presAssocID="{8EBF384C-B1D5-48BB-9866-68A632BE568C}" presName="sibTrans" presStyleCnt="0"/>
      <dgm:spPr/>
    </dgm:pt>
    <dgm:pt modelId="{3057B0A7-594D-41F0-B236-95CD68C4F614}" type="pres">
      <dgm:prSet presAssocID="{232AC56D-D6A1-41DE-B888-B55F734E6267}" presName="node" presStyleLbl="node1" presStyleIdx="8" presStyleCnt="10">
        <dgm:presLayoutVars>
          <dgm:bulletEnabled val="1"/>
        </dgm:presLayoutVars>
      </dgm:prSet>
      <dgm:spPr/>
    </dgm:pt>
    <dgm:pt modelId="{9ACAFF6C-B627-4058-8734-8C95CC35AA1E}" type="pres">
      <dgm:prSet presAssocID="{33606C6F-DEAD-4EE4-9804-9C3D3E8D96BB}" presName="sibTrans" presStyleCnt="0"/>
      <dgm:spPr/>
    </dgm:pt>
    <dgm:pt modelId="{CBC8FC7E-E11C-4040-BE43-77FDE8E5A31D}" type="pres">
      <dgm:prSet presAssocID="{5641160E-1549-49BD-A9DE-3BF1CDD7CBBE}" presName="node" presStyleLbl="node1" presStyleIdx="9" presStyleCnt="10">
        <dgm:presLayoutVars>
          <dgm:bulletEnabled val="1"/>
        </dgm:presLayoutVars>
      </dgm:prSet>
      <dgm:spPr/>
    </dgm:pt>
  </dgm:ptLst>
  <dgm:cxnLst>
    <dgm:cxn modelId="{0C306405-1E22-4F33-9C0A-7EBB0FA25C00}" type="presOf" srcId="{232AC56D-D6A1-41DE-B888-B55F734E6267}" destId="{3057B0A7-594D-41F0-B236-95CD68C4F614}" srcOrd="0" destOrd="0" presId="urn:microsoft.com/office/officeart/2005/8/layout/default"/>
    <dgm:cxn modelId="{29A44E05-669F-4F1A-9638-A982AFDF41BB}" type="presOf" srcId="{9BC4F603-E509-4CF8-99C1-87DC07561A87}" destId="{FB7F18AD-EB0F-4AFF-9C45-D98D51D992EA}" srcOrd="0" destOrd="0" presId="urn:microsoft.com/office/officeart/2005/8/layout/default"/>
    <dgm:cxn modelId="{8416B61C-4EA0-401F-BFAE-3E3ED9536784}" srcId="{C21976A8-08C4-4CE8-A0F4-F72673F430DE}" destId="{A2071CDB-BE4A-483B-8B61-F918EF896C07}" srcOrd="0" destOrd="0" parTransId="{0790A45C-C460-4BDC-8422-6BD8E7A623EE}" sibTransId="{BE2BC9D6-2E1D-49DB-8413-C1AC10756EA4}"/>
    <dgm:cxn modelId="{4D988C1D-F510-4587-B35A-40516C6165B2}" srcId="{C21976A8-08C4-4CE8-A0F4-F72673F430DE}" destId="{8B9A1577-0849-42DA-A842-DDC8EB92121D}" srcOrd="7" destOrd="0" parTransId="{6F556399-6333-4120-B014-F85469EE8EB7}" sibTransId="{8EBF384C-B1D5-48BB-9866-68A632BE568C}"/>
    <dgm:cxn modelId="{3851932C-2D16-4823-AF53-20ED124C30CB}" srcId="{C21976A8-08C4-4CE8-A0F4-F72673F430DE}" destId="{9BC4F603-E509-4CF8-99C1-87DC07561A87}" srcOrd="1" destOrd="0" parTransId="{C8EEC439-8761-4C8E-B637-470923449857}" sibTransId="{5530FB48-24E6-47AF-9938-435A181620F6}"/>
    <dgm:cxn modelId="{0BF99E31-1261-400F-A245-40996C6EB444}" type="presOf" srcId="{A2071CDB-BE4A-483B-8B61-F918EF896C07}" destId="{2F2C0091-D969-4558-B8DA-74DFF461330F}" srcOrd="0" destOrd="0" presId="urn:microsoft.com/office/officeart/2005/8/layout/default"/>
    <dgm:cxn modelId="{0DFA0F3B-6E01-431A-B31D-E4D776B1232A}" srcId="{C21976A8-08C4-4CE8-A0F4-F72673F430DE}" destId="{232AC56D-D6A1-41DE-B888-B55F734E6267}" srcOrd="8" destOrd="0" parTransId="{3A791D89-A9D5-4921-B314-5BA7487A7BEE}" sibTransId="{33606C6F-DEAD-4EE4-9804-9C3D3E8D96BB}"/>
    <dgm:cxn modelId="{5352E847-18D1-44E8-862E-C0D5E577740F}" type="presOf" srcId="{5641160E-1549-49BD-A9DE-3BF1CDD7CBBE}" destId="{CBC8FC7E-E11C-4040-BE43-77FDE8E5A31D}" srcOrd="0" destOrd="0" presId="urn:microsoft.com/office/officeart/2005/8/layout/default"/>
    <dgm:cxn modelId="{D74E056A-95B3-46DE-B1C3-C89D8B9FFA29}" srcId="{C21976A8-08C4-4CE8-A0F4-F72673F430DE}" destId="{A13241D6-9DE2-4AB2-AF81-694DBE430219}" srcOrd="4" destOrd="0" parTransId="{F9C45346-2882-4ED0-9665-A9CAD6014700}" sibTransId="{474F6B10-6C98-4FE5-998B-F7EF076C4D47}"/>
    <dgm:cxn modelId="{31E7527B-A31D-4CF3-9B83-83CA11BF0306}" type="presOf" srcId="{58DE7DD0-B0A3-489C-B616-9EF841AA4CE6}" destId="{24E6BF6C-541B-4396-9949-CF45A13FFFB4}" srcOrd="0" destOrd="0" presId="urn:microsoft.com/office/officeart/2005/8/layout/default"/>
    <dgm:cxn modelId="{E2B6927F-558B-4F3E-B0FE-5A779A495D33}" srcId="{C21976A8-08C4-4CE8-A0F4-F72673F430DE}" destId="{5641160E-1549-49BD-A9DE-3BF1CDD7CBBE}" srcOrd="9" destOrd="0" parTransId="{0104C2A1-8823-4551-BE19-89E901A65E8E}" sibTransId="{49B8FEBC-AC39-4F49-A24D-979C91476C8D}"/>
    <dgm:cxn modelId="{73A15481-452E-4CF2-A888-EB5065E02B53}" srcId="{C21976A8-08C4-4CE8-A0F4-F72673F430DE}" destId="{F60A8D64-1945-4CCE-8D89-E9ED1C67456D}" srcOrd="3" destOrd="0" parTransId="{E0CBC350-19EA-4226-90DE-9D2D14BE9CEE}" sibTransId="{B0D26F87-6A40-46F6-BE0E-341ACEEC9C03}"/>
    <dgm:cxn modelId="{61DC3485-A53A-4F3C-ACBB-3F7520EA825B}" type="presOf" srcId="{C21976A8-08C4-4CE8-A0F4-F72673F430DE}" destId="{EB7A7516-C35C-49D6-ADEA-558CA3E46C4B}" srcOrd="0" destOrd="0" presId="urn:microsoft.com/office/officeart/2005/8/layout/default"/>
    <dgm:cxn modelId="{45D1D385-25AF-4EB2-BFE2-5CE834BC64AB}" type="presOf" srcId="{8B9A1577-0849-42DA-A842-DDC8EB92121D}" destId="{E4D02184-ACE9-4439-8C6A-00AC71B43248}" srcOrd="0" destOrd="0" presId="urn:microsoft.com/office/officeart/2005/8/layout/default"/>
    <dgm:cxn modelId="{7BA38E9B-1C80-4409-9115-56F1DE81C279}" type="presOf" srcId="{0B034C84-47C5-4175-8C02-3D5D0A537896}" destId="{12217ADE-50CE-4C05-9B64-D9078F5107DA}" srcOrd="0" destOrd="0" presId="urn:microsoft.com/office/officeart/2005/8/layout/default"/>
    <dgm:cxn modelId="{016EC5B2-37A0-41D6-B037-ED22553EEEFD}" srcId="{C21976A8-08C4-4CE8-A0F4-F72673F430DE}" destId="{58DE7DD0-B0A3-489C-B616-9EF841AA4CE6}" srcOrd="2" destOrd="0" parTransId="{8A672F8A-27C6-4330-BC61-5EB715F37ED9}" sibTransId="{6E2885C5-F0E6-4239-A04D-C83A96605792}"/>
    <dgm:cxn modelId="{3A8FB0B9-DB88-436F-9334-B89196A02463}" type="presOf" srcId="{F60A8D64-1945-4CCE-8D89-E9ED1C67456D}" destId="{168F3565-7741-4CFC-A8EE-A5CB1A337FBD}" srcOrd="0" destOrd="0" presId="urn:microsoft.com/office/officeart/2005/8/layout/default"/>
    <dgm:cxn modelId="{6733D4BF-394E-4C6C-8C73-7D83B2083882}" type="presOf" srcId="{D5DBE31C-5963-4D74-B70C-429AB360A865}" destId="{FCE0259D-5B0E-4930-A6BA-4A3ED79CE6E2}" srcOrd="0" destOrd="0" presId="urn:microsoft.com/office/officeart/2005/8/layout/default"/>
    <dgm:cxn modelId="{A31A62C7-DAF8-4F5C-8758-778E91ED23FB}" srcId="{C21976A8-08C4-4CE8-A0F4-F72673F430DE}" destId="{D5DBE31C-5963-4D74-B70C-429AB360A865}" srcOrd="6" destOrd="0" parTransId="{648B3B4A-45C4-4EE5-8F76-CDF98BF4C9DF}" sibTransId="{DED30255-BDA6-4B89-9AA4-08BC3A632BA8}"/>
    <dgm:cxn modelId="{EDABA4DA-703A-402F-B371-CF30287B37F5}" type="presOf" srcId="{A13241D6-9DE2-4AB2-AF81-694DBE430219}" destId="{0C52B8C4-02D4-426E-86CB-84077A71270F}" srcOrd="0" destOrd="0" presId="urn:microsoft.com/office/officeart/2005/8/layout/default"/>
    <dgm:cxn modelId="{8ECA99FD-1959-41E6-AD00-1911CECE0011}" srcId="{C21976A8-08C4-4CE8-A0F4-F72673F430DE}" destId="{0B034C84-47C5-4175-8C02-3D5D0A537896}" srcOrd="5" destOrd="0" parTransId="{30CB3FB6-3FC2-4114-8A59-73D958A07114}" sibTransId="{695CDDD8-94D3-4AA0-9F85-F02BD30D620A}"/>
    <dgm:cxn modelId="{D4059578-8F29-4CED-A1D4-B29BDADED25D}" type="presParOf" srcId="{EB7A7516-C35C-49D6-ADEA-558CA3E46C4B}" destId="{2F2C0091-D969-4558-B8DA-74DFF461330F}" srcOrd="0" destOrd="0" presId="urn:microsoft.com/office/officeart/2005/8/layout/default"/>
    <dgm:cxn modelId="{DFD7B68B-72A7-450C-85B8-02A06AC77771}" type="presParOf" srcId="{EB7A7516-C35C-49D6-ADEA-558CA3E46C4B}" destId="{03D161EE-709B-4DA8-8A34-6670A27352C8}" srcOrd="1" destOrd="0" presId="urn:microsoft.com/office/officeart/2005/8/layout/default"/>
    <dgm:cxn modelId="{24FA0C3E-608F-407D-8951-1647F344FCC6}" type="presParOf" srcId="{EB7A7516-C35C-49D6-ADEA-558CA3E46C4B}" destId="{FB7F18AD-EB0F-4AFF-9C45-D98D51D992EA}" srcOrd="2" destOrd="0" presId="urn:microsoft.com/office/officeart/2005/8/layout/default"/>
    <dgm:cxn modelId="{9289777C-9460-4201-861D-925EB3247D80}" type="presParOf" srcId="{EB7A7516-C35C-49D6-ADEA-558CA3E46C4B}" destId="{3D688E00-28C3-4BC8-AFA8-BF6C76AB31BA}" srcOrd="3" destOrd="0" presId="urn:microsoft.com/office/officeart/2005/8/layout/default"/>
    <dgm:cxn modelId="{A5502D28-7A19-4EDF-9657-6B5179DB0F11}" type="presParOf" srcId="{EB7A7516-C35C-49D6-ADEA-558CA3E46C4B}" destId="{24E6BF6C-541B-4396-9949-CF45A13FFFB4}" srcOrd="4" destOrd="0" presId="urn:microsoft.com/office/officeart/2005/8/layout/default"/>
    <dgm:cxn modelId="{C3E65D4B-D4C1-4806-AB72-7D54867CBD5A}" type="presParOf" srcId="{EB7A7516-C35C-49D6-ADEA-558CA3E46C4B}" destId="{F707ADB1-98CE-40B9-AEB6-8896335ACF46}" srcOrd="5" destOrd="0" presId="urn:microsoft.com/office/officeart/2005/8/layout/default"/>
    <dgm:cxn modelId="{28FA6D4A-3330-4A4B-96DB-92DB9B4C6878}" type="presParOf" srcId="{EB7A7516-C35C-49D6-ADEA-558CA3E46C4B}" destId="{168F3565-7741-4CFC-A8EE-A5CB1A337FBD}" srcOrd="6" destOrd="0" presId="urn:microsoft.com/office/officeart/2005/8/layout/default"/>
    <dgm:cxn modelId="{69CA2DF5-A344-4F86-A54E-54C2ADEF73EE}" type="presParOf" srcId="{EB7A7516-C35C-49D6-ADEA-558CA3E46C4B}" destId="{3A177855-A8D2-4AE5-9150-A5E59FBEFB9F}" srcOrd="7" destOrd="0" presId="urn:microsoft.com/office/officeart/2005/8/layout/default"/>
    <dgm:cxn modelId="{066020FF-8078-4DC1-B67D-A37F8F49E645}" type="presParOf" srcId="{EB7A7516-C35C-49D6-ADEA-558CA3E46C4B}" destId="{0C52B8C4-02D4-426E-86CB-84077A71270F}" srcOrd="8" destOrd="0" presId="urn:microsoft.com/office/officeart/2005/8/layout/default"/>
    <dgm:cxn modelId="{09BC5A66-1357-4AA0-A794-6C22DEEE9A01}" type="presParOf" srcId="{EB7A7516-C35C-49D6-ADEA-558CA3E46C4B}" destId="{A5174903-F42A-4228-BE50-B46321D1E84F}" srcOrd="9" destOrd="0" presId="urn:microsoft.com/office/officeart/2005/8/layout/default"/>
    <dgm:cxn modelId="{FB5C51FA-B1A3-4430-B776-CA8554E9B0AB}" type="presParOf" srcId="{EB7A7516-C35C-49D6-ADEA-558CA3E46C4B}" destId="{12217ADE-50CE-4C05-9B64-D9078F5107DA}" srcOrd="10" destOrd="0" presId="urn:microsoft.com/office/officeart/2005/8/layout/default"/>
    <dgm:cxn modelId="{57D49685-23B1-49DB-AF73-7A822AE7EF04}" type="presParOf" srcId="{EB7A7516-C35C-49D6-ADEA-558CA3E46C4B}" destId="{CD501BF7-5EF3-418B-B096-9BF156EA7738}" srcOrd="11" destOrd="0" presId="urn:microsoft.com/office/officeart/2005/8/layout/default"/>
    <dgm:cxn modelId="{D1BFDE05-60BA-469B-8308-DAB4355BA65A}" type="presParOf" srcId="{EB7A7516-C35C-49D6-ADEA-558CA3E46C4B}" destId="{FCE0259D-5B0E-4930-A6BA-4A3ED79CE6E2}" srcOrd="12" destOrd="0" presId="urn:microsoft.com/office/officeart/2005/8/layout/default"/>
    <dgm:cxn modelId="{287075D7-9E86-4670-86D0-C317F0AAB4BA}" type="presParOf" srcId="{EB7A7516-C35C-49D6-ADEA-558CA3E46C4B}" destId="{ADB6182C-75DD-4E01-8ECC-4A99D560CB8E}" srcOrd="13" destOrd="0" presId="urn:microsoft.com/office/officeart/2005/8/layout/default"/>
    <dgm:cxn modelId="{0C82C329-8AFE-495B-8666-D9F49E2ED622}" type="presParOf" srcId="{EB7A7516-C35C-49D6-ADEA-558CA3E46C4B}" destId="{E4D02184-ACE9-4439-8C6A-00AC71B43248}" srcOrd="14" destOrd="0" presId="urn:microsoft.com/office/officeart/2005/8/layout/default"/>
    <dgm:cxn modelId="{36869796-B9EF-4481-B9DC-238389250576}" type="presParOf" srcId="{EB7A7516-C35C-49D6-ADEA-558CA3E46C4B}" destId="{81ACB922-2CC4-48DB-8858-6A78EAEB2B3B}" srcOrd="15" destOrd="0" presId="urn:microsoft.com/office/officeart/2005/8/layout/default"/>
    <dgm:cxn modelId="{905F2453-4B50-4ACA-80DE-27B34DAA489E}" type="presParOf" srcId="{EB7A7516-C35C-49D6-ADEA-558CA3E46C4B}" destId="{3057B0A7-594D-41F0-B236-95CD68C4F614}" srcOrd="16" destOrd="0" presId="urn:microsoft.com/office/officeart/2005/8/layout/default"/>
    <dgm:cxn modelId="{3AE9331E-1CA3-45B1-9DBA-34A524E71C6A}" type="presParOf" srcId="{EB7A7516-C35C-49D6-ADEA-558CA3E46C4B}" destId="{9ACAFF6C-B627-4058-8734-8C95CC35AA1E}" srcOrd="17" destOrd="0" presId="urn:microsoft.com/office/officeart/2005/8/layout/default"/>
    <dgm:cxn modelId="{D86786B7-9825-4BB4-898C-922E2E2C2F69}" type="presParOf" srcId="{EB7A7516-C35C-49D6-ADEA-558CA3E46C4B}" destId="{CBC8FC7E-E11C-4040-BE43-77FDE8E5A31D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28A9DC4-78AE-4350-8B1B-9E410450932C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</dgm:pt>
    <dgm:pt modelId="{2820A946-9EFC-4701-9111-76E8F90D5FC3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Database Files</a:t>
          </a:r>
        </a:p>
      </dgm:t>
    </dgm:pt>
    <dgm:pt modelId="{3AE55978-FA20-4CC5-9DEE-E2A1229C1D57}" type="parTrans" cxnId="{62F0F5A2-6C03-42C9-BDC8-EC61C01718B8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1258B429-5808-424F-A8DF-09BFB6B9B012}" type="sibTrans" cxnId="{62F0F5A2-6C03-42C9-BDC8-EC61C01718B8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B5917B65-2B3E-4DE9-9A3D-720514CF6110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Media Files</a:t>
          </a:r>
        </a:p>
      </dgm:t>
    </dgm:pt>
    <dgm:pt modelId="{C9120AE6-0B3E-49A6-B7C3-128D416B0A72}" type="parTrans" cxnId="{58F9DA0D-4BF8-4F4B-9725-765CA2E7DC42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A10EE2B3-E484-451B-B026-8925AB4D726A}" type="sibTrans" cxnId="{58F9DA0D-4BF8-4F4B-9725-765CA2E7DC42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916C74C1-70DF-466E-A190-5DBB9FCE81C8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Document Files</a:t>
          </a:r>
        </a:p>
      </dgm:t>
    </dgm:pt>
    <dgm:pt modelId="{2D9AA820-C150-49EF-BF0D-12A572E5B6D0}" type="parTrans" cxnId="{D370FF90-A260-46D8-A81A-CCF5600C7547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C6CEAD76-4EC6-4C2E-B121-DD44CCC08BB7}" type="sibTrans" cxnId="{D370FF90-A260-46D8-A81A-CCF5600C7547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1D30A614-400D-4F12-A337-4878ED01D42E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Internet Bookmarks</a:t>
          </a:r>
        </a:p>
      </dgm:t>
    </dgm:pt>
    <dgm:pt modelId="{419AD15C-2D8D-4D6A-A919-17CA8530E3FD}" type="parTrans" cxnId="{D605329D-86CE-4653-AF93-D55AD63F5A6A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DFCAE430-5948-497D-BC36-26169C69F195}" type="sibTrans" cxnId="{D605329D-86CE-4653-AF93-D55AD63F5A6A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312EF6DC-0C26-4526-B16D-89682766E395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Internet Favorites</a:t>
          </a:r>
        </a:p>
      </dgm:t>
    </dgm:pt>
    <dgm:pt modelId="{6CAA91F5-BF25-48FF-BCB7-706936FDDB38}" type="parTrans" cxnId="{2B561BD3-CF32-4BA0-AE35-1F0C22720954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F44D82B8-0BAE-4D89-A003-B6F2BE33EEE8}" type="sibTrans" cxnId="{2B561BD3-CF32-4BA0-AE35-1F0C22720954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BAFE8C2C-D02F-4D67-8028-7E3C6DE81A80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Emails</a:t>
          </a:r>
        </a:p>
      </dgm:t>
    </dgm:pt>
    <dgm:pt modelId="{99DB164A-B346-4861-A0D5-721591F8BD35}" type="parTrans" cxnId="{F9472B2A-9106-41C1-BDED-109F7FC35E9F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FA182BAA-F529-4F44-BE93-BCCC8F5C043F}" type="sibTrans" cxnId="{F9472B2A-9106-41C1-BDED-109F7FC35E9F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1FB7A2FA-4F93-4C2B-93C4-2CD27A9F2B09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Cloud Storage Files</a:t>
          </a:r>
        </a:p>
      </dgm:t>
    </dgm:pt>
    <dgm:pt modelId="{CD8754EA-34E6-4499-9A9A-92E4CC408D15}" type="parTrans" cxnId="{D76D2A3E-BC19-4520-96BD-A31ECB19C359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8389AF5B-A767-4262-89E2-1CBA4537599F}" type="sibTrans" cxnId="{D76D2A3E-BC19-4520-96BD-A31ECB19C359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EFCDB34D-3C71-4B33-A0E2-64B0363409BA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Hidden Partitions</a:t>
          </a:r>
        </a:p>
      </dgm:t>
    </dgm:pt>
    <dgm:pt modelId="{353DFDB6-F521-4F4A-B47C-5690B625CC8D}" type="parTrans" cxnId="{9902B355-80FF-4EA6-A3B4-FA74C84D77D6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B4B1336A-5B87-467B-A87D-141D44D8393B}" type="sibTrans" cxnId="{9902B355-80FF-4EA6-A3B4-FA74C84D77D6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5F36229C-73DD-4CE0-80FC-1C709BD6CCCC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Address Books</a:t>
          </a:r>
        </a:p>
      </dgm:t>
    </dgm:pt>
    <dgm:pt modelId="{039CDFB2-3068-4DA0-9E36-754C7C10C53C}" type="parTrans" cxnId="{36AF113B-2D2E-479E-90D6-7E352424B2FA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2E6F5612-18F4-4B2E-9E06-1697D3A8E37E}" type="sibTrans" cxnId="{36AF113B-2D2E-479E-90D6-7E352424B2FA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FEBF75D1-0003-4908-B8BA-E6CD23DF4C02}" type="pres">
      <dgm:prSet presAssocID="{528A9DC4-78AE-4350-8B1B-9E410450932C}" presName="Name0" presStyleCnt="0">
        <dgm:presLayoutVars>
          <dgm:dir/>
          <dgm:animLvl val="lvl"/>
          <dgm:resizeHandles val="exact"/>
        </dgm:presLayoutVars>
      </dgm:prSet>
      <dgm:spPr/>
    </dgm:pt>
    <dgm:pt modelId="{DDA59903-94C2-478E-8638-0E788F49B631}" type="pres">
      <dgm:prSet presAssocID="{5F36229C-73DD-4CE0-80FC-1C709BD6CCCC}" presName="linNode" presStyleCnt="0"/>
      <dgm:spPr/>
    </dgm:pt>
    <dgm:pt modelId="{FF72BB1F-19CA-4C06-B117-9140C003DA74}" type="pres">
      <dgm:prSet presAssocID="{5F36229C-73DD-4CE0-80FC-1C709BD6CCCC}" presName="parTx" presStyleLbl="revTx" presStyleIdx="0" presStyleCnt="9">
        <dgm:presLayoutVars>
          <dgm:chMax val="1"/>
          <dgm:bulletEnabled val="1"/>
        </dgm:presLayoutVars>
      </dgm:prSet>
      <dgm:spPr/>
    </dgm:pt>
    <dgm:pt modelId="{032FE700-B334-4CF2-A0EF-A791302724FB}" type="pres">
      <dgm:prSet presAssocID="{5F36229C-73DD-4CE0-80FC-1C709BD6CCCC}" presName="bracket" presStyleLbl="parChTrans1D1" presStyleIdx="0" presStyleCnt="9"/>
      <dgm:spPr/>
    </dgm:pt>
    <dgm:pt modelId="{F7B089A7-7D95-438C-919D-F8EEBB9EFCF2}" type="pres">
      <dgm:prSet presAssocID="{5F36229C-73DD-4CE0-80FC-1C709BD6CCCC}" presName="spH" presStyleCnt="0"/>
      <dgm:spPr/>
    </dgm:pt>
    <dgm:pt modelId="{51E33A3D-2DF6-4AF9-888C-F1BFD84C2728}" type="pres">
      <dgm:prSet presAssocID="{2E6F5612-18F4-4B2E-9E06-1697D3A8E37E}" presName="spV" presStyleCnt="0"/>
      <dgm:spPr/>
    </dgm:pt>
    <dgm:pt modelId="{986F92FD-C81C-453F-B8C1-AE009592E5F1}" type="pres">
      <dgm:prSet presAssocID="{2820A946-9EFC-4701-9111-76E8F90D5FC3}" presName="linNode" presStyleCnt="0"/>
      <dgm:spPr/>
    </dgm:pt>
    <dgm:pt modelId="{C6978A6A-8182-4B15-8390-5C3A657E3F17}" type="pres">
      <dgm:prSet presAssocID="{2820A946-9EFC-4701-9111-76E8F90D5FC3}" presName="parTx" presStyleLbl="revTx" presStyleIdx="1" presStyleCnt="9">
        <dgm:presLayoutVars>
          <dgm:chMax val="1"/>
          <dgm:bulletEnabled val="1"/>
        </dgm:presLayoutVars>
      </dgm:prSet>
      <dgm:spPr/>
    </dgm:pt>
    <dgm:pt modelId="{B973D51A-AF0A-414F-A9FD-CD2B394FA840}" type="pres">
      <dgm:prSet presAssocID="{2820A946-9EFC-4701-9111-76E8F90D5FC3}" presName="bracket" presStyleLbl="parChTrans1D1" presStyleIdx="1" presStyleCnt="9"/>
      <dgm:spPr/>
    </dgm:pt>
    <dgm:pt modelId="{8BAD8C4D-9999-4FBA-AE11-054DAA4E6D3F}" type="pres">
      <dgm:prSet presAssocID="{2820A946-9EFC-4701-9111-76E8F90D5FC3}" presName="spH" presStyleCnt="0"/>
      <dgm:spPr/>
    </dgm:pt>
    <dgm:pt modelId="{D60C17F3-0801-479F-B681-56BA037C2574}" type="pres">
      <dgm:prSet presAssocID="{1258B429-5808-424F-A8DF-09BFB6B9B012}" presName="spV" presStyleCnt="0"/>
      <dgm:spPr/>
    </dgm:pt>
    <dgm:pt modelId="{1C9BC462-947F-4F46-BB1D-ED6C62075BED}" type="pres">
      <dgm:prSet presAssocID="{B5917B65-2B3E-4DE9-9A3D-720514CF6110}" presName="linNode" presStyleCnt="0"/>
      <dgm:spPr/>
    </dgm:pt>
    <dgm:pt modelId="{86B10DE1-0B3B-43C9-A47D-4638912760C4}" type="pres">
      <dgm:prSet presAssocID="{B5917B65-2B3E-4DE9-9A3D-720514CF6110}" presName="parTx" presStyleLbl="revTx" presStyleIdx="2" presStyleCnt="9">
        <dgm:presLayoutVars>
          <dgm:chMax val="1"/>
          <dgm:bulletEnabled val="1"/>
        </dgm:presLayoutVars>
      </dgm:prSet>
      <dgm:spPr/>
    </dgm:pt>
    <dgm:pt modelId="{65B67C6C-BB99-408D-A80A-4F5875A1F9E5}" type="pres">
      <dgm:prSet presAssocID="{B5917B65-2B3E-4DE9-9A3D-720514CF6110}" presName="bracket" presStyleLbl="parChTrans1D1" presStyleIdx="2" presStyleCnt="9"/>
      <dgm:spPr/>
    </dgm:pt>
    <dgm:pt modelId="{3ACF93FA-C1F2-4E05-821F-DC43D7A0567A}" type="pres">
      <dgm:prSet presAssocID="{B5917B65-2B3E-4DE9-9A3D-720514CF6110}" presName="spH" presStyleCnt="0"/>
      <dgm:spPr/>
    </dgm:pt>
    <dgm:pt modelId="{7230639F-8903-4216-8128-9D978AE06CC8}" type="pres">
      <dgm:prSet presAssocID="{A10EE2B3-E484-451B-B026-8925AB4D726A}" presName="spV" presStyleCnt="0"/>
      <dgm:spPr/>
    </dgm:pt>
    <dgm:pt modelId="{7616AE83-93A3-40A7-8F29-AAE581057D36}" type="pres">
      <dgm:prSet presAssocID="{916C74C1-70DF-466E-A190-5DBB9FCE81C8}" presName="linNode" presStyleCnt="0"/>
      <dgm:spPr/>
    </dgm:pt>
    <dgm:pt modelId="{C66661F2-0380-4C3F-907F-459DF0029B7A}" type="pres">
      <dgm:prSet presAssocID="{916C74C1-70DF-466E-A190-5DBB9FCE81C8}" presName="parTx" presStyleLbl="revTx" presStyleIdx="3" presStyleCnt="9">
        <dgm:presLayoutVars>
          <dgm:chMax val="1"/>
          <dgm:bulletEnabled val="1"/>
        </dgm:presLayoutVars>
      </dgm:prSet>
      <dgm:spPr/>
    </dgm:pt>
    <dgm:pt modelId="{3C008E30-952D-477A-A7C4-E188B2F16691}" type="pres">
      <dgm:prSet presAssocID="{916C74C1-70DF-466E-A190-5DBB9FCE81C8}" presName="bracket" presStyleLbl="parChTrans1D1" presStyleIdx="3" presStyleCnt="9"/>
      <dgm:spPr/>
    </dgm:pt>
    <dgm:pt modelId="{99655AD5-624E-400E-8800-B5B52613EE51}" type="pres">
      <dgm:prSet presAssocID="{916C74C1-70DF-466E-A190-5DBB9FCE81C8}" presName="spH" presStyleCnt="0"/>
      <dgm:spPr/>
    </dgm:pt>
    <dgm:pt modelId="{719DFF6B-E77E-476B-BFBD-8F36C3DD0ACF}" type="pres">
      <dgm:prSet presAssocID="{C6CEAD76-4EC6-4C2E-B121-DD44CCC08BB7}" presName="spV" presStyleCnt="0"/>
      <dgm:spPr/>
    </dgm:pt>
    <dgm:pt modelId="{EF394AF0-EEC0-4F99-BD52-551811A43097}" type="pres">
      <dgm:prSet presAssocID="{1D30A614-400D-4F12-A337-4878ED01D42E}" presName="linNode" presStyleCnt="0"/>
      <dgm:spPr/>
    </dgm:pt>
    <dgm:pt modelId="{A13FFE99-9875-46B7-82B6-1D26BCE2A868}" type="pres">
      <dgm:prSet presAssocID="{1D30A614-400D-4F12-A337-4878ED01D42E}" presName="parTx" presStyleLbl="revTx" presStyleIdx="4" presStyleCnt="9">
        <dgm:presLayoutVars>
          <dgm:chMax val="1"/>
          <dgm:bulletEnabled val="1"/>
        </dgm:presLayoutVars>
      </dgm:prSet>
      <dgm:spPr/>
    </dgm:pt>
    <dgm:pt modelId="{B4AABB59-80D3-4288-9CFD-81A18F398B4D}" type="pres">
      <dgm:prSet presAssocID="{1D30A614-400D-4F12-A337-4878ED01D42E}" presName="bracket" presStyleLbl="parChTrans1D1" presStyleIdx="4" presStyleCnt="9"/>
      <dgm:spPr/>
    </dgm:pt>
    <dgm:pt modelId="{00A0B4DF-8953-491B-92A6-A5690E400A39}" type="pres">
      <dgm:prSet presAssocID="{1D30A614-400D-4F12-A337-4878ED01D42E}" presName="spH" presStyleCnt="0"/>
      <dgm:spPr/>
    </dgm:pt>
    <dgm:pt modelId="{55F5C4FE-38AD-46F8-83BF-AF01B259A44D}" type="pres">
      <dgm:prSet presAssocID="{DFCAE430-5948-497D-BC36-26169C69F195}" presName="spV" presStyleCnt="0"/>
      <dgm:spPr/>
    </dgm:pt>
    <dgm:pt modelId="{DF0FC811-D354-457F-A6CF-2133646A544F}" type="pres">
      <dgm:prSet presAssocID="{312EF6DC-0C26-4526-B16D-89682766E395}" presName="linNode" presStyleCnt="0"/>
      <dgm:spPr/>
    </dgm:pt>
    <dgm:pt modelId="{27F5E8DF-9072-4D43-9E12-C13FC6E6AAE9}" type="pres">
      <dgm:prSet presAssocID="{312EF6DC-0C26-4526-B16D-89682766E395}" presName="parTx" presStyleLbl="revTx" presStyleIdx="5" presStyleCnt="9">
        <dgm:presLayoutVars>
          <dgm:chMax val="1"/>
          <dgm:bulletEnabled val="1"/>
        </dgm:presLayoutVars>
      </dgm:prSet>
      <dgm:spPr/>
    </dgm:pt>
    <dgm:pt modelId="{77DFB957-C93D-4816-8A43-9BB8A905AD5E}" type="pres">
      <dgm:prSet presAssocID="{312EF6DC-0C26-4526-B16D-89682766E395}" presName="bracket" presStyleLbl="parChTrans1D1" presStyleIdx="5" presStyleCnt="9"/>
      <dgm:spPr/>
    </dgm:pt>
    <dgm:pt modelId="{E2717DFF-D019-4F0C-909B-92A81AC6634E}" type="pres">
      <dgm:prSet presAssocID="{312EF6DC-0C26-4526-B16D-89682766E395}" presName="spH" presStyleCnt="0"/>
      <dgm:spPr/>
    </dgm:pt>
    <dgm:pt modelId="{57CB03A7-AEC6-463F-B295-17E8E1585C49}" type="pres">
      <dgm:prSet presAssocID="{F44D82B8-0BAE-4D89-A003-B6F2BE33EEE8}" presName="spV" presStyleCnt="0"/>
      <dgm:spPr/>
    </dgm:pt>
    <dgm:pt modelId="{0AFD5BF8-2EAD-4A12-B714-C2D31A6C0F8B}" type="pres">
      <dgm:prSet presAssocID="{BAFE8C2C-D02F-4D67-8028-7E3C6DE81A80}" presName="linNode" presStyleCnt="0"/>
      <dgm:spPr/>
    </dgm:pt>
    <dgm:pt modelId="{057D8D48-F576-49F2-9499-5E8F7569893F}" type="pres">
      <dgm:prSet presAssocID="{BAFE8C2C-D02F-4D67-8028-7E3C6DE81A80}" presName="parTx" presStyleLbl="revTx" presStyleIdx="6" presStyleCnt="9">
        <dgm:presLayoutVars>
          <dgm:chMax val="1"/>
          <dgm:bulletEnabled val="1"/>
        </dgm:presLayoutVars>
      </dgm:prSet>
      <dgm:spPr/>
    </dgm:pt>
    <dgm:pt modelId="{F2CE16EF-A637-497F-90D9-F1FFF27DB7C8}" type="pres">
      <dgm:prSet presAssocID="{BAFE8C2C-D02F-4D67-8028-7E3C6DE81A80}" presName="bracket" presStyleLbl="parChTrans1D1" presStyleIdx="6" presStyleCnt="9"/>
      <dgm:spPr/>
    </dgm:pt>
    <dgm:pt modelId="{F72AFFDD-E449-4821-AE02-4CB887BF3A0D}" type="pres">
      <dgm:prSet presAssocID="{BAFE8C2C-D02F-4D67-8028-7E3C6DE81A80}" presName="spH" presStyleCnt="0"/>
      <dgm:spPr/>
    </dgm:pt>
    <dgm:pt modelId="{E15A26CA-80AA-491F-9438-D9610A94826D}" type="pres">
      <dgm:prSet presAssocID="{FA182BAA-F529-4F44-BE93-BCCC8F5C043F}" presName="spV" presStyleCnt="0"/>
      <dgm:spPr/>
    </dgm:pt>
    <dgm:pt modelId="{F2EEA2D8-CF14-4B39-85D6-C41FD98CFD41}" type="pres">
      <dgm:prSet presAssocID="{1FB7A2FA-4F93-4C2B-93C4-2CD27A9F2B09}" presName="linNode" presStyleCnt="0"/>
      <dgm:spPr/>
    </dgm:pt>
    <dgm:pt modelId="{CBF7CF1D-B438-479E-BEE4-E65476FFD884}" type="pres">
      <dgm:prSet presAssocID="{1FB7A2FA-4F93-4C2B-93C4-2CD27A9F2B09}" presName="parTx" presStyleLbl="revTx" presStyleIdx="7" presStyleCnt="9">
        <dgm:presLayoutVars>
          <dgm:chMax val="1"/>
          <dgm:bulletEnabled val="1"/>
        </dgm:presLayoutVars>
      </dgm:prSet>
      <dgm:spPr/>
    </dgm:pt>
    <dgm:pt modelId="{ACF44DB1-F03F-46E1-8294-3C6BA75F725A}" type="pres">
      <dgm:prSet presAssocID="{1FB7A2FA-4F93-4C2B-93C4-2CD27A9F2B09}" presName="bracket" presStyleLbl="parChTrans1D1" presStyleIdx="7" presStyleCnt="9"/>
      <dgm:spPr/>
    </dgm:pt>
    <dgm:pt modelId="{45521ED7-5D1F-47BD-8582-90ABACEB3DFF}" type="pres">
      <dgm:prSet presAssocID="{1FB7A2FA-4F93-4C2B-93C4-2CD27A9F2B09}" presName="spH" presStyleCnt="0"/>
      <dgm:spPr/>
    </dgm:pt>
    <dgm:pt modelId="{B3CC1854-4B61-4C3E-8018-98B01C7299C8}" type="pres">
      <dgm:prSet presAssocID="{8389AF5B-A767-4262-89E2-1CBA4537599F}" presName="spV" presStyleCnt="0"/>
      <dgm:spPr/>
    </dgm:pt>
    <dgm:pt modelId="{12B62542-915C-49D3-88F4-12030B4A30B0}" type="pres">
      <dgm:prSet presAssocID="{EFCDB34D-3C71-4B33-A0E2-64B0363409BA}" presName="linNode" presStyleCnt="0"/>
      <dgm:spPr/>
    </dgm:pt>
    <dgm:pt modelId="{7A402DB2-5C46-4BBB-A979-C9D20FF01CB0}" type="pres">
      <dgm:prSet presAssocID="{EFCDB34D-3C71-4B33-A0E2-64B0363409BA}" presName="parTx" presStyleLbl="revTx" presStyleIdx="8" presStyleCnt="9">
        <dgm:presLayoutVars>
          <dgm:chMax val="1"/>
          <dgm:bulletEnabled val="1"/>
        </dgm:presLayoutVars>
      </dgm:prSet>
      <dgm:spPr/>
    </dgm:pt>
    <dgm:pt modelId="{5A5F0233-AFCD-4F90-ADCB-BDA174158972}" type="pres">
      <dgm:prSet presAssocID="{EFCDB34D-3C71-4B33-A0E2-64B0363409BA}" presName="bracket" presStyleLbl="parChTrans1D1" presStyleIdx="8" presStyleCnt="9"/>
      <dgm:spPr/>
    </dgm:pt>
    <dgm:pt modelId="{4C64590A-96BE-43E2-9DA2-EB901A2AC036}" type="pres">
      <dgm:prSet presAssocID="{EFCDB34D-3C71-4B33-A0E2-64B0363409BA}" presName="spH" presStyleCnt="0"/>
      <dgm:spPr/>
    </dgm:pt>
  </dgm:ptLst>
  <dgm:cxnLst>
    <dgm:cxn modelId="{58F9DA0D-4BF8-4F4B-9725-765CA2E7DC42}" srcId="{528A9DC4-78AE-4350-8B1B-9E410450932C}" destId="{B5917B65-2B3E-4DE9-9A3D-720514CF6110}" srcOrd="2" destOrd="0" parTransId="{C9120AE6-0B3E-49A6-B7C3-128D416B0A72}" sibTransId="{A10EE2B3-E484-451B-B026-8925AB4D726A}"/>
    <dgm:cxn modelId="{957AD412-C5F1-48D0-8F33-368537D35EAA}" type="presOf" srcId="{312EF6DC-0C26-4526-B16D-89682766E395}" destId="{27F5E8DF-9072-4D43-9E12-C13FC6E6AAE9}" srcOrd="0" destOrd="0" presId="urn:diagrams.loki3.com/BracketList"/>
    <dgm:cxn modelId="{11F63721-8FBA-4252-B851-62AFED4BAD32}" type="presOf" srcId="{1D30A614-400D-4F12-A337-4878ED01D42E}" destId="{A13FFE99-9875-46B7-82B6-1D26BCE2A868}" srcOrd="0" destOrd="0" presId="urn:diagrams.loki3.com/BracketList"/>
    <dgm:cxn modelId="{6363EF25-838A-49B7-A192-802500FFEFB2}" type="presOf" srcId="{B5917B65-2B3E-4DE9-9A3D-720514CF6110}" destId="{86B10DE1-0B3B-43C9-A47D-4638912760C4}" srcOrd="0" destOrd="0" presId="urn:diagrams.loki3.com/BracketList"/>
    <dgm:cxn modelId="{F9472B2A-9106-41C1-BDED-109F7FC35E9F}" srcId="{528A9DC4-78AE-4350-8B1B-9E410450932C}" destId="{BAFE8C2C-D02F-4D67-8028-7E3C6DE81A80}" srcOrd="6" destOrd="0" parTransId="{99DB164A-B346-4861-A0D5-721591F8BD35}" sibTransId="{FA182BAA-F529-4F44-BE93-BCCC8F5C043F}"/>
    <dgm:cxn modelId="{AB04B92C-B33F-4689-A470-3D6DC5BBE052}" type="presOf" srcId="{BAFE8C2C-D02F-4D67-8028-7E3C6DE81A80}" destId="{057D8D48-F576-49F2-9499-5E8F7569893F}" srcOrd="0" destOrd="0" presId="urn:diagrams.loki3.com/BracketList"/>
    <dgm:cxn modelId="{36AF113B-2D2E-479E-90D6-7E352424B2FA}" srcId="{528A9DC4-78AE-4350-8B1B-9E410450932C}" destId="{5F36229C-73DD-4CE0-80FC-1C709BD6CCCC}" srcOrd="0" destOrd="0" parTransId="{039CDFB2-3068-4DA0-9E36-754C7C10C53C}" sibTransId="{2E6F5612-18F4-4B2E-9E06-1697D3A8E37E}"/>
    <dgm:cxn modelId="{D76D2A3E-BC19-4520-96BD-A31ECB19C359}" srcId="{528A9DC4-78AE-4350-8B1B-9E410450932C}" destId="{1FB7A2FA-4F93-4C2B-93C4-2CD27A9F2B09}" srcOrd="7" destOrd="0" parTransId="{CD8754EA-34E6-4499-9A9A-92E4CC408D15}" sibTransId="{8389AF5B-A767-4262-89E2-1CBA4537599F}"/>
    <dgm:cxn modelId="{E35EBD4B-077B-4508-BA02-1FC92BC70265}" type="presOf" srcId="{2820A946-9EFC-4701-9111-76E8F90D5FC3}" destId="{C6978A6A-8182-4B15-8390-5C3A657E3F17}" srcOrd="0" destOrd="0" presId="urn:diagrams.loki3.com/BracketList"/>
    <dgm:cxn modelId="{0C4D996F-2049-4B0B-BBC0-FBA96E6CEB3E}" type="presOf" srcId="{916C74C1-70DF-466E-A190-5DBB9FCE81C8}" destId="{C66661F2-0380-4C3F-907F-459DF0029B7A}" srcOrd="0" destOrd="0" presId="urn:diagrams.loki3.com/BracketList"/>
    <dgm:cxn modelId="{9902B355-80FF-4EA6-A3B4-FA74C84D77D6}" srcId="{528A9DC4-78AE-4350-8B1B-9E410450932C}" destId="{EFCDB34D-3C71-4B33-A0E2-64B0363409BA}" srcOrd="8" destOrd="0" parTransId="{353DFDB6-F521-4F4A-B47C-5690B625CC8D}" sibTransId="{B4B1336A-5B87-467B-A87D-141D44D8393B}"/>
    <dgm:cxn modelId="{D370FF90-A260-46D8-A81A-CCF5600C7547}" srcId="{528A9DC4-78AE-4350-8B1B-9E410450932C}" destId="{916C74C1-70DF-466E-A190-5DBB9FCE81C8}" srcOrd="3" destOrd="0" parTransId="{2D9AA820-C150-49EF-BF0D-12A572E5B6D0}" sibTransId="{C6CEAD76-4EC6-4C2E-B121-DD44CCC08BB7}"/>
    <dgm:cxn modelId="{D605329D-86CE-4653-AF93-D55AD63F5A6A}" srcId="{528A9DC4-78AE-4350-8B1B-9E410450932C}" destId="{1D30A614-400D-4F12-A337-4878ED01D42E}" srcOrd="4" destOrd="0" parTransId="{419AD15C-2D8D-4D6A-A919-17CA8530E3FD}" sibTransId="{DFCAE430-5948-497D-BC36-26169C69F195}"/>
    <dgm:cxn modelId="{FEB372A1-EC84-4A64-B191-D72F384DA9ED}" type="presOf" srcId="{1FB7A2FA-4F93-4C2B-93C4-2CD27A9F2B09}" destId="{CBF7CF1D-B438-479E-BEE4-E65476FFD884}" srcOrd="0" destOrd="0" presId="urn:diagrams.loki3.com/BracketList"/>
    <dgm:cxn modelId="{62F0F5A2-6C03-42C9-BDC8-EC61C01718B8}" srcId="{528A9DC4-78AE-4350-8B1B-9E410450932C}" destId="{2820A946-9EFC-4701-9111-76E8F90D5FC3}" srcOrd="1" destOrd="0" parTransId="{3AE55978-FA20-4CC5-9DEE-E2A1229C1D57}" sibTransId="{1258B429-5808-424F-A8DF-09BFB6B9B012}"/>
    <dgm:cxn modelId="{C0D896B8-8FA9-4378-B62C-4CD7FE65ACB7}" type="presOf" srcId="{5F36229C-73DD-4CE0-80FC-1C709BD6CCCC}" destId="{FF72BB1F-19CA-4C06-B117-9140C003DA74}" srcOrd="0" destOrd="0" presId="urn:diagrams.loki3.com/BracketList"/>
    <dgm:cxn modelId="{2B561BD3-CF32-4BA0-AE35-1F0C22720954}" srcId="{528A9DC4-78AE-4350-8B1B-9E410450932C}" destId="{312EF6DC-0C26-4526-B16D-89682766E395}" srcOrd="5" destOrd="0" parTransId="{6CAA91F5-BF25-48FF-BCB7-706936FDDB38}" sibTransId="{F44D82B8-0BAE-4D89-A003-B6F2BE33EEE8}"/>
    <dgm:cxn modelId="{CF1835E3-F668-4753-BE25-B2429B9CE85D}" type="presOf" srcId="{528A9DC4-78AE-4350-8B1B-9E410450932C}" destId="{FEBF75D1-0003-4908-B8BA-E6CD23DF4C02}" srcOrd="0" destOrd="0" presId="urn:diagrams.loki3.com/BracketList"/>
    <dgm:cxn modelId="{FA2EFAE7-E9AF-4615-B78C-809579693543}" type="presOf" srcId="{EFCDB34D-3C71-4B33-A0E2-64B0363409BA}" destId="{7A402DB2-5C46-4BBB-A979-C9D20FF01CB0}" srcOrd="0" destOrd="0" presId="urn:diagrams.loki3.com/BracketList"/>
    <dgm:cxn modelId="{9E27504B-027D-4B1E-8F6A-3C337CEB0FB8}" type="presParOf" srcId="{FEBF75D1-0003-4908-B8BA-E6CD23DF4C02}" destId="{DDA59903-94C2-478E-8638-0E788F49B631}" srcOrd="0" destOrd="0" presId="urn:diagrams.loki3.com/BracketList"/>
    <dgm:cxn modelId="{DDB72FDA-18DC-4F75-BFB6-5FD42C81AFB4}" type="presParOf" srcId="{DDA59903-94C2-478E-8638-0E788F49B631}" destId="{FF72BB1F-19CA-4C06-B117-9140C003DA74}" srcOrd="0" destOrd="0" presId="urn:diagrams.loki3.com/BracketList"/>
    <dgm:cxn modelId="{F103DB1E-B04C-404F-8DEC-B2FC55FD76DF}" type="presParOf" srcId="{DDA59903-94C2-478E-8638-0E788F49B631}" destId="{032FE700-B334-4CF2-A0EF-A791302724FB}" srcOrd="1" destOrd="0" presId="urn:diagrams.loki3.com/BracketList"/>
    <dgm:cxn modelId="{F2ECA237-A7B9-4986-91C7-D71162D71F0C}" type="presParOf" srcId="{DDA59903-94C2-478E-8638-0E788F49B631}" destId="{F7B089A7-7D95-438C-919D-F8EEBB9EFCF2}" srcOrd="2" destOrd="0" presId="urn:diagrams.loki3.com/BracketList"/>
    <dgm:cxn modelId="{C33AE95F-DB04-47D1-BE7D-273069CEFBAE}" type="presParOf" srcId="{FEBF75D1-0003-4908-B8BA-E6CD23DF4C02}" destId="{51E33A3D-2DF6-4AF9-888C-F1BFD84C2728}" srcOrd="1" destOrd="0" presId="urn:diagrams.loki3.com/BracketList"/>
    <dgm:cxn modelId="{2D83D54C-6670-4EAB-851F-96A8FC14C1CD}" type="presParOf" srcId="{FEBF75D1-0003-4908-B8BA-E6CD23DF4C02}" destId="{986F92FD-C81C-453F-B8C1-AE009592E5F1}" srcOrd="2" destOrd="0" presId="urn:diagrams.loki3.com/BracketList"/>
    <dgm:cxn modelId="{00FEBFEA-46F4-45F3-BFB6-A124BFFC521D}" type="presParOf" srcId="{986F92FD-C81C-453F-B8C1-AE009592E5F1}" destId="{C6978A6A-8182-4B15-8390-5C3A657E3F17}" srcOrd="0" destOrd="0" presId="urn:diagrams.loki3.com/BracketList"/>
    <dgm:cxn modelId="{E1A6BAE5-371C-4ED4-9843-012CDD0F04A8}" type="presParOf" srcId="{986F92FD-C81C-453F-B8C1-AE009592E5F1}" destId="{B973D51A-AF0A-414F-A9FD-CD2B394FA840}" srcOrd="1" destOrd="0" presId="urn:diagrams.loki3.com/BracketList"/>
    <dgm:cxn modelId="{B68DD2F1-802D-4DD9-A54D-69B0D2AE6E19}" type="presParOf" srcId="{986F92FD-C81C-453F-B8C1-AE009592E5F1}" destId="{8BAD8C4D-9999-4FBA-AE11-054DAA4E6D3F}" srcOrd="2" destOrd="0" presId="urn:diagrams.loki3.com/BracketList"/>
    <dgm:cxn modelId="{69D1A7CF-1B60-4B66-ACAE-8CF2EA9787BB}" type="presParOf" srcId="{FEBF75D1-0003-4908-B8BA-E6CD23DF4C02}" destId="{D60C17F3-0801-479F-B681-56BA037C2574}" srcOrd="3" destOrd="0" presId="urn:diagrams.loki3.com/BracketList"/>
    <dgm:cxn modelId="{69871DD3-0D69-4333-9F1E-D40582687219}" type="presParOf" srcId="{FEBF75D1-0003-4908-B8BA-E6CD23DF4C02}" destId="{1C9BC462-947F-4F46-BB1D-ED6C62075BED}" srcOrd="4" destOrd="0" presId="urn:diagrams.loki3.com/BracketList"/>
    <dgm:cxn modelId="{13952B44-D621-49DF-91C7-D56544C637AC}" type="presParOf" srcId="{1C9BC462-947F-4F46-BB1D-ED6C62075BED}" destId="{86B10DE1-0B3B-43C9-A47D-4638912760C4}" srcOrd="0" destOrd="0" presId="urn:diagrams.loki3.com/BracketList"/>
    <dgm:cxn modelId="{9947E4EF-BFA1-42B5-BBD7-2AF93EA22AFF}" type="presParOf" srcId="{1C9BC462-947F-4F46-BB1D-ED6C62075BED}" destId="{65B67C6C-BB99-408D-A80A-4F5875A1F9E5}" srcOrd="1" destOrd="0" presId="urn:diagrams.loki3.com/BracketList"/>
    <dgm:cxn modelId="{470FC957-EA3B-4AA0-9940-FD3B53EA4567}" type="presParOf" srcId="{1C9BC462-947F-4F46-BB1D-ED6C62075BED}" destId="{3ACF93FA-C1F2-4E05-821F-DC43D7A0567A}" srcOrd="2" destOrd="0" presId="urn:diagrams.loki3.com/BracketList"/>
    <dgm:cxn modelId="{74C5423B-D0D3-43A1-853B-2A526B76F544}" type="presParOf" srcId="{FEBF75D1-0003-4908-B8BA-E6CD23DF4C02}" destId="{7230639F-8903-4216-8128-9D978AE06CC8}" srcOrd="5" destOrd="0" presId="urn:diagrams.loki3.com/BracketList"/>
    <dgm:cxn modelId="{17B6B9CE-9026-49F1-8E4A-4B50417A866B}" type="presParOf" srcId="{FEBF75D1-0003-4908-B8BA-E6CD23DF4C02}" destId="{7616AE83-93A3-40A7-8F29-AAE581057D36}" srcOrd="6" destOrd="0" presId="urn:diagrams.loki3.com/BracketList"/>
    <dgm:cxn modelId="{26661DCA-FF2B-426D-9D2B-C5C1424F294A}" type="presParOf" srcId="{7616AE83-93A3-40A7-8F29-AAE581057D36}" destId="{C66661F2-0380-4C3F-907F-459DF0029B7A}" srcOrd="0" destOrd="0" presId="urn:diagrams.loki3.com/BracketList"/>
    <dgm:cxn modelId="{2223E554-C830-4048-94CC-2DD670300525}" type="presParOf" srcId="{7616AE83-93A3-40A7-8F29-AAE581057D36}" destId="{3C008E30-952D-477A-A7C4-E188B2F16691}" srcOrd="1" destOrd="0" presId="urn:diagrams.loki3.com/BracketList"/>
    <dgm:cxn modelId="{2EFB8D41-7500-4CB4-9C17-249AFB87FD0C}" type="presParOf" srcId="{7616AE83-93A3-40A7-8F29-AAE581057D36}" destId="{99655AD5-624E-400E-8800-B5B52613EE51}" srcOrd="2" destOrd="0" presId="urn:diagrams.loki3.com/BracketList"/>
    <dgm:cxn modelId="{CE0B273C-B042-4670-A9D2-220E693EFCC5}" type="presParOf" srcId="{FEBF75D1-0003-4908-B8BA-E6CD23DF4C02}" destId="{719DFF6B-E77E-476B-BFBD-8F36C3DD0ACF}" srcOrd="7" destOrd="0" presId="urn:diagrams.loki3.com/BracketList"/>
    <dgm:cxn modelId="{922B6545-A4C3-4166-9D7C-F764EA84C729}" type="presParOf" srcId="{FEBF75D1-0003-4908-B8BA-E6CD23DF4C02}" destId="{EF394AF0-EEC0-4F99-BD52-551811A43097}" srcOrd="8" destOrd="0" presId="urn:diagrams.loki3.com/BracketList"/>
    <dgm:cxn modelId="{38C4C6DF-8FB7-4453-B3AF-71E3CF3255B4}" type="presParOf" srcId="{EF394AF0-EEC0-4F99-BD52-551811A43097}" destId="{A13FFE99-9875-46B7-82B6-1D26BCE2A868}" srcOrd="0" destOrd="0" presId="urn:diagrams.loki3.com/BracketList"/>
    <dgm:cxn modelId="{84CCB61E-D837-41FD-8659-AA303E65EB9D}" type="presParOf" srcId="{EF394AF0-EEC0-4F99-BD52-551811A43097}" destId="{B4AABB59-80D3-4288-9CFD-81A18F398B4D}" srcOrd="1" destOrd="0" presId="urn:diagrams.loki3.com/BracketList"/>
    <dgm:cxn modelId="{3E7B5435-5981-4C84-AE1B-259F242AF609}" type="presParOf" srcId="{EF394AF0-EEC0-4F99-BD52-551811A43097}" destId="{00A0B4DF-8953-491B-92A6-A5690E400A39}" srcOrd="2" destOrd="0" presId="urn:diagrams.loki3.com/BracketList"/>
    <dgm:cxn modelId="{9200AD35-4B41-44A5-8E63-3E5BA1BA6227}" type="presParOf" srcId="{FEBF75D1-0003-4908-B8BA-E6CD23DF4C02}" destId="{55F5C4FE-38AD-46F8-83BF-AF01B259A44D}" srcOrd="9" destOrd="0" presId="urn:diagrams.loki3.com/BracketList"/>
    <dgm:cxn modelId="{42A649B8-75A6-45D6-B50F-BB566F9D99F0}" type="presParOf" srcId="{FEBF75D1-0003-4908-B8BA-E6CD23DF4C02}" destId="{DF0FC811-D354-457F-A6CF-2133646A544F}" srcOrd="10" destOrd="0" presId="urn:diagrams.loki3.com/BracketList"/>
    <dgm:cxn modelId="{7B93D26E-A5F7-43D7-A078-FC0C7BA12C93}" type="presParOf" srcId="{DF0FC811-D354-457F-A6CF-2133646A544F}" destId="{27F5E8DF-9072-4D43-9E12-C13FC6E6AAE9}" srcOrd="0" destOrd="0" presId="urn:diagrams.loki3.com/BracketList"/>
    <dgm:cxn modelId="{E9B59B62-92FB-47AB-B34A-D3FB82C7FE6A}" type="presParOf" srcId="{DF0FC811-D354-457F-A6CF-2133646A544F}" destId="{77DFB957-C93D-4816-8A43-9BB8A905AD5E}" srcOrd="1" destOrd="0" presId="urn:diagrams.loki3.com/BracketList"/>
    <dgm:cxn modelId="{25F3006C-0919-4316-A259-999B0850E08F}" type="presParOf" srcId="{DF0FC811-D354-457F-A6CF-2133646A544F}" destId="{E2717DFF-D019-4F0C-909B-92A81AC6634E}" srcOrd="2" destOrd="0" presId="urn:diagrams.loki3.com/BracketList"/>
    <dgm:cxn modelId="{40129B6E-5789-4EB4-BCF2-99CEBB9C3D41}" type="presParOf" srcId="{FEBF75D1-0003-4908-B8BA-E6CD23DF4C02}" destId="{57CB03A7-AEC6-463F-B295-17E8E1585C49}" srcOrd="11" destOrd="0" presId="urn:diagrams.loki3.com/BracketList"/>
    <dgm:cxn modelId="{2ABDF536-078F-4DCD-AE3E-A683C2291A96}" type="presParOf" srcId="{FEBF75D1-0003-4908-B8BA-E6CD23DF4C02}" destId="{0AFD5BF8-2EAD-4A12-B714-C2D31A6C0F8B}" srcOrd="12" destOrd="0" presId="urn:diagrams.loki3.com/BracketList"/>
    <dgm:cxn modelId="{29B48322-9B05-4301-86C8-F5146DF7F1F3}" type="presParOf" srcId="{0AFD5BF8-2EAD-4A12-B714-C2D31A6C0F8B}" destId="{057D8D48-F576-49F2-9499-5E8F7569893F}" srcOrd="0" destOrd="0" presId="urn:diagrams.loki3.com/BracketList"/>
    <dgm:cxn modelId="{2FDA9559-0F9E-411A-826A-A842F77C6605}" type="presParOf" srcId="{0AFD5BF8-2EAD-4A12-B714-C2D31A6C0F8B}" destId="{F2CE16EF-A637-497F-90D9-F1FFF27DB7C8}" srcOrd="1" destOrd="0" presId="urn:diagrams.loki3.com/BracketList"/>
    <dgm:cxn modelId="{31A71042-ADDA-49C0-8C69-EA9B6A85027F}" type="presParOf" srcId="{0AFD5BF8-2EAD-4A12-B714-C2D31A6C0F8B}" destId="{F72AFFDD-E449-4821-AE02-4CB887BF3A0D}" srcOrd="2" destOrd="0" presId="urn:diagrams.loki3.com/BracketList"/>
    <dgm:cxn modelId="{3F0E2180-EF82-4B7B-B5DB-7688D1872CCF}" type="presParOf" srcId="{FEBF75D1-0003-4908-B8BA-E6CD23DF4C02}" destId="{E15A26CA-80AA-491F-9438-D9610A94826D}" srcOrd="13" destOrd="0" presId="urn:diagrams.loki3.com/BracketList"/>
    <dgm:cxn modelId="{B9A90ED4-1197-4EC0-96CB-424EC9E6572D}" type="presParOf" srcId="{FEBF75D1-0003-4908-B8BA-E6CD23DF4C02}" destId="{F2EEA2D8-CF14-4B39-85D6-C41FD98CFD41}" srcOrd="14" destOrd="0" presId="urn:diagrams.loki3.com/BracketList"/>
    <dgm:cxn modelId="{4DA8B9B9-2648-4C46-B3BD-CA29508BC252}" type="presParOf" srcId="{F2EEA2D8-CF14-4B39-85D6-C41FD98CFD41}" destId="{CBF7CF1D-B438-479E-BEE4-E65476FFD884}" srcOrd="0" destOrd="0" presId="urn:diagrams.loki3.com/BracketList"/>
    <dgm:cxn modelId="{096A6BCD-5256-4A33-939A-F81E3E4DE161}" type="presParOf" srcId="{F2EEA2D8-CF14-4B39-85D6-C41FD98CFD41}" destId="{ACF44DB1-F03F-46E1-8294-3C6BA75F725A}" srcOrd="1" destOrd="0" presId="urn:diagrams.loki3.com/BracketList"/>
    <dgm:cxn modelId="{D195D82F-9439-4BEE-B480-893533A70C11}" type="presParOf" srcId="{F2EEA2D8-CF14-4B39-85D6-C41FD98CFD41}" destId="{45521ED7-5D1F-47BD-8582-90ABACEB3DFF}" srcOrd="2" destOrd="0" presId="urn:diagrams.loki3.com/BracketList"/>
    <dgm:cxn modelId="{B6BC7806-03AD-4C9A-A502-64380EBD3905}" type="presParOf" srcId="{FEBF75D1-0003-4908-B8BA-E6CD23DF4C02}" destId="{B3CC1854-4B61-4C3E-8018-98B01C7299C8}" srcOrd="15" destOrd="0" presId="urn:diagrams.loki3.com/BracketList"/>
    <dgm:cxn modelId="{BF9D36E0-A158-4D6F-B025-7DB5D511DBB7}" type="presParOf" srcId="{FEBF75D1-0003-4908-B8BA-E6CD23DF4C02}" destId="{12B62542-915C-49D3-88F4-12030B4A30B0}" srcOrd="16" destOrd="0" presId="urn:diagrams.loki3.com/BracketList"/>
    <dgm:cxn modelId="{91836A81-A851-4168-B17C-53877468593F}" type="presParOf" srcId="{12B62542-915C-49D3-88F4-12030B4A30B0}" destId="{7A402DB2-5C46-4BBB-A979-C9D20FF01CB0}" srcOrd="0" destOrd="0" presId="urn:diagrams.loki3.com/BracketList"/>
    <dgm:cxn modelId="{4A5CF611-24C8-475D-AE70-CEB57CB37787}" type="presParOf" srcId="{12B62542-915C-49D3-88F4-12030B4A30B0}" destId="{5A5F0233-AFCD-4F90-ADCB-BDA174158972}" srcOrd="1" destOrd="0" presId="urn:diagrams.loki3.com/BracketList"/>
    <dgm:cxn modelId="{29179D3A-037C-44FE-BAED-598989E09D22}" type="presParOf" srcId="{12B62542-915C-49D3-88F4-12030B4A30B0}" destId="{4C64590A-96BE-43E2-9DA2-EB901A2AC036}" srcOrd="2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8A9DC4-78AE-4350-8B1B-9E410450932C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</dgm:pt>
    <dgm:pt modelId="{5F36229C-73DD-4CE0-80FC-1C709BD6CCCC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Compressed Files</a:t>
          </a:r>
        </a:p>
      </dgm:t>
    </dgm:pt>
    <dgm:pt modelId="{039CDFB2-3068-4DA0-9E36-754C7C10C53C}" type="parTrans" cxnId="{36AF113B-2D2E-479E-90D6-7E352424B2FA}">
      <dgm:prSet/>
      <dgm:spPr/>
      <dgm:t>
        <a:bodyPr/>
        <a:lstStyle/>
        <a:p>
          <a:endParaRPr lang="en-US" b="1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2E6F5612-18F4-4B2E-9E06-1697D3A8E37E}" type="sibTrans" cxnId="{36AF113B-2D2E-479E-90D6-7E352424B2FA}">
      <dgm:prSet/>
      <dgm:spPr/>
      <dgm:t>
        <a:bodyPr/>
        <a:lstStyle/>
        <a:p>
          <a:endParaRPr lang="en-US" b="1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1DEEC69B-E755-4A22-8A9F-87143407DD74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Misnamed Files</a:t>
          </a:r>
        </a:p>
      </dgm:t>
    </dgm:pt>
    <dgm:pt modelId="{BB0036F2-B8ED-4161-89F3-1617A332A80B}" type="parTrans" cxnId="{6C7D24CA-B683-467F-9769-29853EF64569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E0E4F393-EADA-4A9D-943C-EB2442875B95}" type="sibTrans" cxnId="{6C7D24CA-B683-467F-9769-29853EF64569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0F38906F-1338-4B85-BEE6-F8ACFBB21ADF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Encrypted Files</a:t>
          </a:r>
        </a:p>
      </dgm:t>
    </dgm:pt>
    <dgm:pt modelId="{F2A8ECD1-0E11-4CA9-9CEF-9812AC571C0D}" type="parTrans" cxnId="{BD2A9761-DAFA-4DD5-A2C4-44E54F755A95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D985E835-A7D1-4EEA-9305-E46B0FC8CF77}" type="sibTrans" cxnId="{BD2A9761-DAFA-4DD5-A2C4-44E54F755A95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45E8227C-B041-4658-8D5A-EC97A9B69956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Password Protected Files</a:t>
          </a:r>
        </a:p>
      </dgm:t>
    </dgm:pt>
    <dgm:pt modelId="{EB1B0F6E-B8FD-487C-B9F4-365C27B6489B}" type="parTrans" cxnId="{E3A278F9-5D11-4919-8926-1AE41E15BB90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EB6E6F36-9BA8-4AB5-8A25-8ED12A450540}" type="sibTrans" cxnId="{E3A278F9-5D11-4919-8926-1AE41E15BB90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D4C5E280-CB77-4D5D-81FE-4A9AADE7727F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Hidden Files</a:t>
          </a:r>
        </a:p>
      </dgm:t>
    </dgm:pt>
    <dgm:pt modelId="{C5EC40F7-4076-42FF-B9CD-BE6B1D99251B}" type="parTrans" cxnId="{373D6CBB-D84A-4FE3-B6D6-4C5E236EFC66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2B03433B-734D-4213-A6C6-2C5E2FAFF6D2}" type="sibTrans" cxnId="{373D6CBB-D84A-4FE3-B6D6-4C5E236EFC66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F586F6AB-D6BB-4A90-93CD-9A2020283392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Steganography</a:t>
          </a:r>
        </a:p>
      </dgm:t>
    </dgm:pt>
    <dgm:pt modelId="{62F6BC6D-41A9-4825-95FD-216D1ECBFB45}" type="parTrans" cxnId="{2119CCB4-303C-48FD-89F0-82D77337B73D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E5A87419-B963-4182-9050-0D11AD8821A2}" type="sibTrans" cxnId="{2119CCB4-303C-48FD-89F0-82D77337B73D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BC9EC2A0-2CDA-49AF-B62B-908FB4258ABD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60000"/>
                  <a:lumOff val="40000"/>
                </a:schemeClr>
              </a:solidFill>
            </a:rPr>
            <a:t>Blockchain Ledgers</a:t>
          </a:r>
        </a:p>
      </dgm:t>
    </dgm:pt>
    <dgm:pt modelId="{0E979C24-4F20-4573-B3C8-E17F58DEEF22}" type="parTrans" cxnId="{4312AE0A-31E2-4B74-83D0-7125AD2EE9EB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8D761586-01E7-4F79-A754-56155EFC8B78}" type="sibTrans" cxnId="{4312AE0A-31E2-4B74-83D0-7125AD2EE9EB}">
      <dgm:prSet/>
      <dgm:spPr/>
      <dgm:t>
        <a:bodyPr/>
        <a:lstStyle/>
        <a:p>
          <a:endParaRPr lang="en-US">
            <a:solidFill>
              <a:schemeClr val="accent6">
                <a:lumMod val="60000"/>
                <a:lumOff val="40000"/>
              </a:schemeClr>
            </a:solidFill>
          </a:endParaRPr>
        </a:p>
      </dgm:t>
    </dgm:pt>
    <dgm:pt modelId="{FEBF75D1-0003-4908-B8BA-E6CD23DF4C02}" type="pres">
      <dgm:prSet presAssocID="{528A9DC4-78AE-4350-8B1B-9E410450932C}" presName="Name0" presStyleCnt="0">
        <dgm:presLayoutVars>
          <dgm:dir/>
          <dgm:animLvl val="lvl"/>
          <dgm:resizeHandles val="exact"/>
        </dgm:presLayoutVars>
      </dgm:prSet>
      <dgm:spPr/>
    </dgm:pt>
    <dgm:pt modelId="{DDA59903-94C2-478E-8638-0E788F49B631}" type="pres">
      <dgm:prSet presAssocID="{5F36229C-73DD-4CE0-80FC-1C709BD6CCCC}" presName="linNode" presStyleCnt="0"/>
      <dgm:spPr/>
    </dgm:pt>
    <dgm:pt modelId="{FF72BB1F-19CA-4C06-B117-9140C003DA74}" type="pres">
      <dgm:prSet presAssocID="{5F36229C-73DD-4CE0-80FC-1C709BD6CCCC}" presName="parTx" presStyleLbl="revTx" presStyleIdx="0" presStyleCnt="7">
        <dgm:presLayoutVars>
          <dgm:chMax val="1"/>
          <dgm:bulletEnabled val="1"/>
        </dgm:presLayoutVars>
      </dgm:prSet>
      <dgm:spPr/>
    </dgm:pt>
    <dgm:pt modelId="{032FE700-B334-4CF2-A0EF-A791302724FB}" type="pres">
      <dgm:prSet presAssocID="{5F36229C-73DD-4CE0-80FC-1C709BD6CCCC}" presName="bracket" presStyleLbl="parChTrans1D1" presStyleIdx="0" presStyleCnt="7"/>
      <dgm:spPr/>
    </dgm:pt>
    <dgm:pt modelId="{F7B089A7-7D95-438C-919D-F8EEBB9EFCF2}" type="pres">
      <dgm:prSet presAssocID="{5F36229C-73DD-4CE0-80FC-1C709BD6CCCC}" presName="spH" presStyleCnt="0"/>
      <dgm:spPr/>
    </dgm:pt>
    <dgm:pt modelId="{79EF6917-9E9F-4DAC-A736-E5CF5EF7F0BD}" type="pres">
      <dgm:prSet presAssocID="{2E6F5612-18F4-4B2E-9E06-1697D3A8E37E}" presName="spV" presStyleCnt="0"/>
      <dgm:spPr/>
    </dgm:pt>
    <dgm:pt modelId="{61EBF41F-0395-488C-9193-1949C83A5EE0}" type="pres">
      <dgm:prSet presAssocID="{1DEEC69B-E755-4A22-8A9F-87143407DD74}" presName="linNode" presStyleCnt="0"/>
      <dgm:spPr/>
    </dgm:pt>
    <dgm:pt modelId="{F273E3FD-3EE6-4238-A305-DAF1F02725E6}" type="pres">
      <dgm:prSet presAssocID="{1DEEC69B-E755-4A22-8A9F-87143407DD74}" presName="parTx" presStyleLbl="revTx" presStyleIdx="1" presStyleCnt="7">
        <dgm:presLayoutVars>
          <dgm:chMax val="1"/>
          <dgm:bulletEnabled val="1"/>
        </dgm:presLayoutVars>
      </dgm:prSet>
      <dgm:spPr/>
    </dgm:pt>
    <dgm:pt modelId="{99A0243F-B567-4F5E-9274-E1726918F13D}" type="pres">
      <dgm:prSet presAssocID="{1DEEC69B-E755-4A22-8A9F-87143407DD74}" presName="bracket" presStyleLbl="parChTrans1D1" presStyleIdx="1" presStyleCnt="7"/>
      <dgm:spPr/>
    </dgm:pt>
    <dgm:pt modelId="{FC69A5E1-65A2-4412-8A17-250CA0701985}" type="pres">
      <dgm:prSet presAssocID="{1DEEC69B-E755-4A22-8A9F-87143407DD74}" presName="spH" presStyleCnt="0"/>
      <dgm:spPr/>
    </dgm:pt>
    <dgm:pt modelId="{70F611A7-2E5F-4FB0-8E4D-933D64D8D89F}" type="pres">
      <dgm:prSet presAssocID="{E0E4F393-EADA-4A9D-943C-EB2442875B95}" presName="spV" presStyleCnt="0"/>
      <dgm:spPr/>
    </dgm:pt>
    <dgm:pt modelId="{A6226B74-99D9-4E0F-885E-C6CE8D164668}" type="pres">
      <dgm:prSet presAssocID="{0F38906F-1338-4B85-BEE6-F8ACFBB21ADF}" presName="linNode" presStyleCnt="0"/>
      <dgm:spPr/>
    </dgm:pt>
    <dgm:pt modelId="{3A73762B-76A6-402B-90B5-B60487770CB2}" type="pres">
      <dgm:prSet presAssocID="{0F38906F-1338-4B85-BEE6-F8ACFBB21ADF}" presName="parTx" presStyleLbl="revTx" presStyleIdx="2" presStyleCnt="7">
        <dgm:presLayoutVars>
          <dgm:chMax val="1"/>
          <dgm:bulletEnabled val="1"/>
        </dgm:presLayoutVars>
      </dgm:prSet>
      <dgm:spPr/>
    </dgm:pt>
    <dgm:pt modelId="{9E1E443A-11A1-473A-9976-DBFC21B30161}" type="pres">
      <dgm:prSet presAssocID="{0F38906F-1338-4B85-BEE6-F8ACFBB21ADF}" presName="bracket" presStyleLbl="parChTrans1D1" presStyleIdx="2" presStyleCnt="7"/>
      <dgm:spPr/>
    </dgm:pt>
    <dgm:pt modelId="{742521D2-E8DC-4BF5-BE59-71A70F42D827}" type="pres">
      <dgm:prSet presAssocID="{0F38906F-1338-4B85-BEE6-F8ACFBB21ADF}" presName="spH" presStyleCnt="0"/>
      <dgm:spPr/>
    </dgm:pt>
    <dgm:pt modelId="{164E549A-B7F5-4C37-BF4A-3B845CD93B50}" type="pres">
      <dgm:prSet presAssocID="{D985E835-A7D1-4EEA-9305-E46B0FC8CF77}" presName="spV" presStyleCnt="0"/>
      <dgm:spPr/>
    </dgm:pt>
    <dgm:pt modelId="{43C6F184-0B5E-4309-AD49-F1D074B334C5}" type="pres">
      <dgm:prSet presAssocID="{45E8227C-B041-4658-8D5A-EC97A9B69956}" presName="linNode" presStyleCnt="0"/>
      <dgm:spPr/>
    </dgm:pt>
    <dgm:pt modelId="{A112B484-A3CE-40D5-9CAE-264AD999959C}" type="pres">
      <dgm:prSet presAssocID="{45E8227C-B041-4658-8D5A-EC97A9B69956}" presName="parTx" presStyleLbl="revTx" presStyleIdx="3" presStyleCnt="7">
        <dgm:presLayoutVars>
          <dgm:chMax val="1"/>
          <dgm:bulletEnabled val="1"/>
        </dgm:presLayoutVars>
      </dgm:prSet>
      <dgm:spPr/>
    </dgm:pt>
    <dgm:pt modelId="{7D331205-06BE-4CCA-B012-D80447811468}" type="pres">
      <dgm:prSet presAssocID="{45E8227C-B041-4658-8D5A-EC97A9B69956}" presName="bracket" presStyleLbl="parChTrans1D1" presStyleIdx="3" presStyleCnt="7"/>
      <dgm:spPr/>
    </dgm:pt>
    <dgm:pt modelId="{7CA9B1DC-CE31-4D14-80FA-877DEB222C44}" type="pres">
      <dgm:prSet presAssocID="{45E8227C-B041-4658-8D5A-EC97A9B69956}" presName="spH" presStyleCnt="0"/>
      <dgm:spPr/>
    </dgm:pt>
    <dgm:pt modelId="{53806787-E358-4C0C-89FA-EA2260CD3A2C}" type="pres">
      <dgm:prSet presAssocID="{EB6E6F36-9BA8-4AB5-8A25-8ED12A450540}" presName="spV" presStyleCnt="0"/>
      <dgm:spPr/>
    </dgm:pt>
    <dgm:pt modelId="{657E9F11-3491-4A96-9D17-4399743F7471}" type="pres">
      <dgm:prSet presAssocID="{D4C5E280-CB77-4D5D-81FE-4A9AADE7727F}" presName="linNode" presStyleCnt="0"/>
      <dgm:spPr/>
    </dgm:pt>
    <dgm:pt modelId="{A11D8076-5CD8-407D-B251-32CE2297497F}" type="pres">
      <dgm:prSet presAssocID="{D4C5E280-CB77-4D5D-81FE-4A9AADE7727F}" presName="parTx" presStyleLbl="revTx" presStyleIdx="4" presStyleCnt="7">
        <dgm:presLayoutVars>
          <dgm:chMax val="1"/>
          <dgm:bulletEnabled val="1"/>
        </dgm:presLayoutVars>
      </dgm:prSet>
      <dgm:spPr/>
    </dgm:pt>
    <dgm:pt modelId="{F2ED5A74-BE01-4BDB-B3F2-FA84B17248DB}" type="pres">
      <dgm:prSet presAssocID="{D4C5E280-CB77-4D5D-81FE-4A9AADE7727F}" presName="bracket" presStyleLbl="parChTrans1D1" presStyleIdx="4" presStyleCnt="7"/>
      <dgm:spPr/>
    </dgm:pt>
    <dgm:pt modelId="{C909E8B0-F53D-4296-AB27-856172D1CF25}" type="pres">
      <dgm:prSet presAssocID="{D4C5E280-CB77-4D5D-81FE-4A9AADE7727F}" presName="spH" presStyleCnt="0"/>
      <dgm:spPr/>
    </dgm:pt>
    <dgm:pt modelId="{84F90257-7EDC-411F-8BF9-D57669870695}" type="pres">
      <dgm:prSet presAssocID="{2B03433B-734D-4213-A6C6-2C5E2FAFF6D2}" presName="spV" presStyleCnt="0"/>
      <dgm:spPr/>
    </dgm:pt>
    <dgm:pt modelId="{4A59B1D8-C52C-46B2-B863-0D6A8764C5F6}" type="pres">
      <dgm:prSet presAssocID="{F586F6AB-D6BB-4A90-93CD-9A2020283392}" presName="linNode" presStyleCnt="0"/>
      <dgm:spPr/>
    </dgm:pt>
    <dgm:pt modelId="{367390D5-4352-42AE-98F4-DCA0877A6EC2}" type="pres">
      <dgm:prSet presAssocID="{F586F6AB-D6BB-4A90-93CD-9A2020283392}" presName="parTx" presStyleLbl="revTx" presStyleIdx="5" presStyleCnt="7">
        <dgm:presLayoutVars>
          <dgm:chMax val="1"/>
          <dgm:bulletEnabled val="1"/>
        </dgm:presLayoutVars>
      </dgm:prSet>
      <dgm:spPr/>
    </dgm:pt>
    <dgm:pt modelId="{EEA6916B-EDCE-4696-A3D1-676A00FB6E42}" type="pres">
      <dgm:prSet presAssocID="{F586F6AB-D6BB-4A90-93CD-9A2020283392}" presName="bracket" presStyleLbl="parChTrans1D1" presStyleIdx="5" presStyleCnt="7"/>
      <dgm:spPr/>
    </dgm:pt>
    <dgm:pt modelId="{C40D39CF-8B3C-4C46-93FF-5DB28C453D3C}" type="pres">
      <dgm:prSet presAssocID="{F586F6AB-D6BB-4A90-93CD-9A2020283392}" presName="spH" presStyleCnt="0"/>
      <dgm:spPr/>
    </dgm:pt>
    <dgm:pt modelId="{BA4E2BC4-22AF-4EBA-97A8-2097D6709F0A}" type="pres">
      <dgm:prSet presAssocID="{E5A87419-B963-4182-9050-0D11AD8821A2}" presName="spV" presStyleCnt="0"/>
      <dgm:spPr/>
    </dgm:pt>
    <dgm:pt modelId="{7A5ADA7C-9123-423C-B691-49D4027A830F}" type="pres">
      <dgm:prSet presAssocID="{BC9EC2A0-2CDA-49AF-B62B-908FB4258ABD}" presName="linNode" presStyleCnt="0"/>
      <dgm:spPr/>
    </dgm:pt>
    <dgm:pt modelId="{FD633FDC-9D09-4E50-81B6-7F88EA339C2C}" type="pres">
      <dgm:prSet presAssocID="{BC9EC2A0-2CDA-49AF-B62B-908FB4258ABD}" presName="parTx" presStyleLbl="revTx" presStyleIdx="6" presStyleCnt="7">
        <dgm:presLayoutVars>
          <dgm:chMax val="1"/>
          <dgm:bulletEnabled val="1"/>
        </dgm:presLayoutVars>
      </dgm:prSet>
      <dgm:spPr/>
    </dgm:pt>
    <dgm:pt modelId="{2AAFF38D-CBD3-4118-BC74-983EE9A3DF15}" type="pres">
      <dgm:prSet presAssocID="{BC9EC2A0-2CDA-49AF-B62B-908FB4258ABD}" presName="bracket" presStyleLbl="parChTrans1D1" presStyleIdx="6" presStyleCnt="7"/>
      <dgm:spPr/>
    </dgm:pt>
    <dgm:pt modelId="{D3AE78A1-8EC3-4213-BB72-66F7C5EBECDE}" type="pres">
      <dgm:prSet presAssocID="{BC9EC2A0-2CDA-49AF-B62B-908FB4258ABD}" presName="spH" presStyleCnt="0"/>
      <dgm:spPr/>
    </dgm:pt>
  </dgm:ptLst>
  <dgm:cxnLst>
    <dgm:cxn modelId="{4312AE0A-31E2-4B74-83D0-7125AD2EE9EB}" srcId="{528A9DC4-78AE-4350-8B1B-9E410450932C}" destId="{BC9EC2A0-2CDA-49AF-B62B-908FB4258ABD}" srcOrd="6" destOrd="0" parTransId="{0E979C24-4F20-4573-B3C8-E17F58DEEF22}" sibTransId="{8D761586-01E7-4F79-A754-56155EFC8B78}"/>
    <dgm:cxn modelId="{E61F8118-3E48-4AE6-82BE-C78B76559F44}" type="presOf" srcId="{D4C5E280-CB77-4D5D-81FE-4A9AADE7727F}" destId="{A11D8076-5CD8-407D-B251-32CE2297497F}" srcOrd="0" destOrd="0" presId="urn:diagrams.loki3.com/BracketList"/>
    <dgm:cxn modelId="{E50DD61D-3E1D-4E52-9D30-5A3F4EBE6C9B}" type="presOf" srcId="{F586F6AB-D6BB-4A90-93CD-9A2020283392}" destId="{367390D5-4352-42AE-98F4-DCA0877A6EC2}" srcOrd="0" destOrd="0" presId="urn:diagrams.loki3.com/BracketList"/>
    <dgm:cxn modelId="{36AF113B-2D2E-479E-90D6-7E352424B2FA}" srcId="{528A9DC4-78AE-4350-8B1B-9E410450932C}" destId="{5F36229C-73DD-4CE0-80FC-1C709BD6CCCC}" srcOrd="0" destOrd="0" parTransId="{039CDFB2-3068-4DA0-9E36-754C7C10C53C}" sibTransId="{2E6F5612-18F4-4B2E-9E06-1697D3A8E37E}"/>
    <dgm:cxn modelId="{BD2A9761-DAFA-4DD5-A2C4-44E54F755A95}" srcId="{528A9DC4-78AE-4350-8B1B-9E410450932C}" destId="{0F38906F-1338-4B85-BEE6-F8ACFBB21ADF}" srcOrd="2" destOrd="0" parTransId="{F2A8ECD1-0E11-4CA9-9CEF-9812AC571C0D}" sibTransId="{D985E835-A7D1-4EEA-9305-E46B0FC8CF77}"/>
    <dgm:cxn modelId="{FA16C093-7FDF-4B2A-BB5C-ED642F1B6661}" type="presOf" srcId="{0F38906F-1338-4B85-BEE6-F8ACFBB21ADF}" destId="{3A73762B-76A6-402B-90B5-B60487770CB2}" srcOrd="0" destOrd="0" presId="urn:diagrams.loki3.com/BracketList"/>
    <dgm:cxn modelId="{2119CCB4-303C-48FD-89F0-82D77337B73D}" srcId="{528A9DC4-78AE-4350-8B1B-9E410450932C}" destId="{F586F6AB-D6BB-4A90-93CD-9A2020283392}" srcOrd="5" destOrd="0" parTransId="{62F6BC6D-41A9-4825-95FD-216D1ECBFB45}" sibTransId="{E5A87419-B963-4182-9050-0D11AD8821A2}"/>
    <dgm:cxn modelId="{C0D896B8-8FA9-4378-B62C-4CD7FE65ACB7}" type="presOf" srcId="{5F36229C-73DD-4CE0-80FC-1C709BD6CCCC}" destId="{FF72BB1F-19CA-4C06-B117-9140C003DA74}" srcOrd="0" destOrd="0" presId="urn:diagrams.loki3.com/BracketList"/>
    <dgm:cxn modelId="{373D6CBB-D84A-4FE3-B6D6-4C5E236EFC66}" srcId="{528A9DC4-78AE-4350-8B1B-9E410450932C}" destId="{D4C5E280-CB77-4D5D-81FE-4A9AADE7727F}" srcOrd="4" destOrd="0" parTransId="{C5EC40F7-4076-42FF-B9CD-BE6B1D99251B}" sibTransId="{2B03433B-734D-4213-A6C6-2C5E2FAFF6D2}"/>
    <dgm:cxn modelId="{6C7D24CA-B683-467F-9769-29853EF64569}" srcId="{528A9DC4-78AE-4350-8B1B-9E410450932C}" destId="{1DEEC69B-E755-4A22-8A9F-87143407DD74}" srcOrd="1" destOrd="0" parTransId="{BB0036F2-B8ED-4161-89F3-1617A332A80B}" sibTransId="{E0E4F393-EADA-4A9D-943C-EB2442875B95}"/>
    <dgm:cxn modelId="{EEF8ACCA-7978-4EBB-BA09-4B9039BCAD20}" type="presOf" srcId="{45E8227C-B041-4658-8D5A-EC97A9B69956}" destId="{A112B484-A3CE-40D5-9CAE-264AD999959C}" srcOrd="0" destOrd="0" presId="urn:diagrams.loki3.com/BracketList"/>
    <dgm:cxn modelId="{77414AD6-C781-4B80-AC2C-0F89757BDE50}" type="presOf" srcId="{1DEEC69B-E755-4A22-8A9F-87143407DD74}" destId="{F273E3FD-3EE6-4238-A305-DAF1F02725E6}" srcOrd="0" destOrd="0" presId="urn:diagrams.loki3.com/BracketList"/>
    <dgm:cxn modelId="{CF1835E3-F668-4753-BE25-B2429B9CE85D}" type="presOf" srcId="{528A9DC4-78AE-4350-8B1B-9E410450932C}" destId="{FEBF75D1-0003-4908-B8BA-E6CD23DF4C02}" srcOrd="0" destOrd="0" presId="urn:diagrams.loki3.com/BracketList"/>
    <dgm:cxn modelId="{4555B2F4-90D7-4076-8AB0-C26A57D1FFF3}" type="presOf" srcId="{BC9EC2A0-2CDA-49AF-B62B-908FB4258ABD}" destId="{FD633FDC-9D09-4E50-81B6-7F88EA339C2C}" srcOrd="0" destOrd="0" presId="urn:diagrams.loki3.com/BracketList"/>
    <dgm:cxn modelId="{E3A278F9-5D11-4919-8926-1AE41E15BB90}" srcId="{528A9DC4-78AE-4350-8B1B-9E410450932C}" destId="{45E8227C-B041-4658-8D5A-EC97A9B69956}" srcOrd="3" destOrd="0" parTransId="{EB1B0F6E-B8FD-487C-B9F4-365C27B6489B}" sibTransId="{EB6E6F36-9BA8-4AB5-8A25-8ED12A450540}"/>
    <dgm:cxn modelId="{9E27504B-027D-4B1E-8F6A-3C337CEB0FB8}" type="presParOf" srcId="{FEBF75D1-0003-4908-B8BA-E6CD23DF4C02}" destId="{DDA59903-94C2-478E-8638-0E788F49B631}" srcOrd="0" destOrd="0" presId="urn:diagrams.loki3.com/BracketList"/>
    <dgm:cxn modelId="{DDB72FDA-18DC-4F75-BFB6-5FD42C81AFB4}" type="presParOf" srcId="{DDA59903-94C2-478E-8638-0E788F49B631}" destId="{FF72BB1F-19CA-4C06-B117-9140C003DA74}" srcOrd="0" destOrd="0" presId="urn:diagrams.loki3.com/BracketList"/>
    <dgm:cxn modelId="{F103DB1E-B04C-404F-8DEC-B2FC55FD76DF}" type="presParOf" srcId="{DDA59903-94C2-478E-8638-0E788F49B631}" destId="{032FE700-B334-4CF2-A0EF-A791302724FB}" srcOrd="1" destOrd="0" presId="urn:diagrams.loki3.com/BracketList"/>
    <dgm:cxn modelId="{F2ECA237-A7B9-4986-91C7-D71162D71F0C}" type="presParOf" srcId="{DDA59903-94C2-478E-8638-0E788F49B631}" destId="{F7B089A7-7D95-438C-919D-F8EEBB9EFCF2}" srcOrd="2" destOrd="0" presId="urn:diagrams.loki3.com/BracketList"/>
    <dgm:cxn modelId="{4F44DCB3-22D1-4776-AFA0-D5F07C325B41}" type="presParOf" srcId="{FEBF75D1-0003-4908-B8BA-E6CD23DF4C02}" destId="{79EF6917-9E9F-4DAC-A736-E5CF5EF7F0BD}" srcOrd="1" destOrd="0" presId="urn:diagrams.loki3.com/BracketList"/>
    <dgm:cxn modelId="{486418E4-30F3-48DD-BD85-89659F4BFFB2}" type="presParOf" srcId="{FEBF75D1-0003-4908-B8BA-E6CD23DF4C02}" destId="{61EBF41F-0395-488C-9193-1949C83A5EE0}" srcOrd="2" destOrd="0" presId="urn:diagrams.loki3.com/BracketList"/>
    <dgm:cxn modelId="{7109A90E-A0D1-4A32-82BD-9F2B7528E9EF}" type="presParOf" srcId="{61EBF41F-0395-488C-9193-1949C83A5EE0}" destId="{F273E3FD-3EE6-4238-A305-DAF1F02725E6}" srcOrd="0" destOrd="0" presId="urn:diagrams.loki3.com/BracketList"/>
    <dgm:cxn modelId="{D81E2805-1C70-4588-802D-5F7479CAE4B9}" type="presParOf" srcId="{61EBF41F-0395-488C-9193-1949C83A5EE0}" destId="{99A0243F-B567-4F5E-9274-E1726918F13D}" srcOrd="1" destOrd="0" presId="urn:diagrams.loki3.com/BracketList"/>
    <dgm:cxn modelId="{0110F71B-6766-43BD-A792-716316AA981E}" type="presParOf" srcId="{61EBF41F-0395-488C-9193-1949C83A5EE0}" destId="{FC69A5E1-65A2-4412-8A17-250CA0701985}" srcOrd="2" destOrd="0" presId="urn:diagrams.loki3.com/BracketList"/>
    <dgm:cxn modelId="{2705FC74-010B-4EFE-A20F-D55ABF9B6571}" type="presParOf" srcId="{FEBF75D1-0003-4908-B8BA-E6CD23DF4C02}" destId="{70F611A7-2E5F-4FB0-8E4D-933D64D8D89F}" srcOrd="3" destOrd="0" presId="urn:diagrams.loki3.com/BracketList"/>
    <dgm:cxn modelId="{A133D2BA-15A0-4F8D-B278-1499BD1C1F00}" type="presParOf" srcId="{FEBF75D1-0003-4908-B8BA-E6CD23DF4C02}" destId="{A6226B74-99D9-4E0F-885E-C6CE8D164668}" srcOrd="4" destOrd="0" presId="urn:diagrams.loki3.com/BracketList"/>
    <dgm:cxn modelId="{1C58FC97-362C-4FD6-9846-05F63554581D}" type="presParOf" srcId="{A6226B74-99D9-4E0F-885E-C6CE8D164668}" destId="{3A73762B-76A6-402B-90B5-B60487770CB2}" srcOrd="0" destOrd="0" presId="urn:diagrams.loki3.com/BracketList"/>
    <dgm:cxn modelId="{18ACF939-BE10-4262-A937-92F262CA516C}" type="presParOf" srcId="{A6226B74-99D9-4E0F-885E-C6CE8D164668}" destId="{9E1E443A-11A1-473A-9976-DBFC21B30161}" srcOrd="1" destOrd="0" presId="urn:diagrams.loki3.com/BracketList"/>
    <dgm:cxn modelId="{B77C872E-645A-47ED-A985-347104BDF072}" type="presParOf" srcId="{A6226B74-99D9-4E0F-885E-C6CE8D164668}" destId="{742521D2-E8DC-4BF5-BE59-71A70F42D827}" srcOrd="2" destOrd="0" presId="urn:diagrams.loki3.com/BracketList"/>
    <dgm:cxn modelId="{7744E298-2D58-405D-8E01-C427A6E68E81}" type="presParOf" srcId="{FEBF75D1-0003-4908-B8BA-E6CD23DF4C02}" destId="{164E549A-B7F5-4C37-BF4A-3B845CD93B50}" srcOrd="5" destOrd="0" presId="urn:diagrams.loki3.com/BracketList"/>
    <dgm:cxn modelId="{9C22FC66-A51C-4D5C-B64A-7EAC9783138B}" type="presParOf" srcId="{FEBF75D1-0003-4908-B8BA-E6CD23DF4C02}" destId="{43C6F184-0B5E-4309-AD49-F1D074B334C5}" srcOrd="6" destOrd="0" presId="urn:diagrams.loki3.com/BracketList"/>
    <dgm:cxn modelId="{6CEE37D2-5C5F-4CC9-92D1-80B85285C2B8}" type="presParOf" srcId="{43C6F184-0B5E-4309-AD49-F1D074B334C5}" destId="{A112B484-A3CE-40D5-9CAE-264AD999959C}" srcOrd="0" destOrd="0" presId="urn:diagrams.loki3.com/BracketList"/>
    <dgm:cxn modelId="{E9383543-4228-4592-8F7A-66013F10B464}" type="presParOf" srcId="{43C6F184-0B5E-4309-AD49-F1D074B334C5}" destId="{7D331205-06BE-4CCA-B012-D80447811468}" srcOrd="1" destOrd="0" presId="urn:diagrams.loki3.com/BracketList"/>
    <dgm:cxn modelId="{3095ECAD-3453-4618-809C-F56333643CC9}" type="presParOf" srcId="{43C6F184-0B5E-4309-AD49-F1D074B334C5}" destId="{7CA9B1DC-CE31-4D14-80FA-877DEB222C44}" srcOrd="2" destOrd="0" presId="urn:diagrams.loki3.com/BracketList"/>
    <dgm:cxn modelId="{B737C639-602B-4036-A503-2D1405D28C64}" type="presParOf" srcId="{FEBF75D1-0003-4908-B8BA-E6CD23DF4C02}" destId="{53806787-E358-4C0C-89FA-EA2260CD3A2C}" srcOrd="7" destOrd="0" presId="urn:diagrams.loki3.com/BracketList"/>
    <dgm:cxn modelId="{B891720E-95EF-487D-B119-EC0861D8F331}" type="presParOf" srcId="{FEBF75D1-0003-4908-B8BA-E6CD23DF4C02}" destId="{657E9F11-3491-4A96-9D17-4399743F7471}" srcOrd="8" destOrd="0" presId="urn:diagrams.loki3.com/BracketList"/>
    <dgm:cxn modelId="{C29F6697-0ACD-4D1C-8B9E-384CFE8CB376}" type="presParOf" srcId="{657E9F11-3491-4A96-9D17-4399743F7471}" destId="{A11D8076-5CD8-407D-B251-32CE2297497F}" srcOrd="0" destOrd="0" presId="urn:diagrams.loki3.com/BracketList"/>
    <dgm:cxn modelId="{C911C6E2-1B8F-47F1-8474-42AAA8E4E900}" type="presParOf" srcId="{657E9F11-3491-4A96-9D17-4399743F7471}" destId="{F2ED5A74-BE01-4BDB-B3F2-FA84B17248DB}" srcOrd="1" destOrd="0" presId="urn:diagrams.loki3.com/BracketList"/>
    <dgm:cxn modelId="{B2F752FB-BE44-491D-9DA8-8A9B94F0A83B}" type="presParOf" srcId="{657E9F11-3491-4A96-9D17-4399743F7471}" destId="{C909E8B0-F53D-4296-AB27-856172D1CF25}" srcOrd="2" destOrd="0" presId="urn:diagrams.loki3.com/BracketList"/>
    <dgm:cxn modelId="{8BFBFA48-5288-4A3E-9D19-708BA02C597C}" type="presParOf" srcId="{FEBF75D1-0003-4908-B8BA-E6CD23DF4C02}" destId="{84F90257-7EDC-411F-8BF9-D57669870695}" srcOrd="9" destOrd="0" presId="urn:diagrams.loki3.com/BracketList"/>
    <dgm:cxn modelId="{4C5F2595-173B-4DCA-915A-C2ACD91029AB}" type="presParOf" srcId="{FEBF75D1-0003-4908-B8BA-E6CD23DF4C02}" destId="{4A59B1D8-C52C-46B2-B863-0D6A8764C5F6}" srcOrd="10" destOrd="0" presId="urn:diagrams.loki3.com/BracketList"/>
    <dgm:cxn modelId="{99468752-9144-4915-8524-4C96597BEB55}" type="presParOf" srcId="{4A59B1D8-C52C-46B2-B863-0D6A8764C5F6}" destId="{367390D5-4352-42AE-98F4-DCA0877A6EC2}" srcOrd="0" destOrd="0" presId="urn:diagrams.loki3.com/BracketList"/>
    <dgm:cxn modelId="{423E6CCE-EBE2-4394-B91D-BF7740A88329}" type="presParOf" srcId="{4A59B1D8-C52C-46B2-B863-0D6A8764C5F6}" destId="{EEA6916B-EDCE-4696-A3D1-676A00FB6E42}" srcOrd="1" destOrd="0" presId="urn:diagrams.loki3.com/BracketList"/>
    <dgm:cxn modelId="{C4171A2C-68CF-4AA0-A8FE-06A352E6C9E2}" type="presParOf" srcId="{4A59B1D8-C52C-46B2-B863-0D6A8764C5F6}" destId="{C40D39CF-8B3C-4C46-93FF-5DB28C453D3C}" srcOrd="2" destOrd="0" presId="urn:diagrams.loki3.com/BracketList"/>
    <dgm:cxn modelId="{DEABDD49-5F4C-4490-9D20-3780A565B681}" type="presParOf" srcId="{FEBF75D1-0003-4908-B8BA-E6CD23DF4C02}" destId="{BA4E2BC4-22AF-4EBA-97A8-2097D6709F0A}" srcOrd="11" destOrd="0" presId="urn:diagrams.loki3.com/BracketList"/>
    <dgm:cxn modelId="{D38B2872-FADE-4F10-B314-6E986F8DAE9C}" type="presParOf" srcId="{FEBF75D1-0003-4908-B8BA-E6CD23DF4C02}" destId="{7A5ADA7C-9123-423C-B691-49D4027A830F}" srcOrd="12" destOrd="0" presId="urn:diagrams.loki3.com/BracketList"/>
    <dgm:cxn modelId="{7A045A54-E144-4A48-99EB-A739FDCD9E52}" type="presParOf" srcId="{7A5ADA7C-9123-423C-B691-49D4027A830F}" destId="{FD633FDC-9D09-4E50-81B6-7F88EA339C2C}" srcOrd="0" destOrd="0" presId="urn:diagrams.loki3.com/BracketList"/>
    <dgm:cxn modelId="{6A28A29A-12F7-4F75-8FA4-223F2C66EA0D}" type="presParOf" srcId="{7A5ADA7C-9123-423C-B691-49D4027A830F}" destId="{2AAFF38D-CBD3-4118-BC74-983EE9A3DF15}" srcOrd="1" destOrd="0" presId="urn:diagrams.loki3.com/BracketList"/>
    <dgm:cxn modelId="{DB3D537B-8567-4B41-9FD3-A909568306FD}" type="presParOf" srcId="{7A5ADA7C-9123-423C-B691-49D4027A830F}" destId="{D3AE78A1-8EC3-4213-BB72-66F7C5EBECDE}" srcOrd="2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28A9DC4-78AE-4350-8B1B-9E410450932C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</dgm:pt>
    <dgm:pt modelId="{348A710E-BFCD-480F-BA8F-071B4902BF9E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Backup Files</a:t>
          </a:r>
        </a:p>
      </dgm:t>
    </dgm:pt>
    <dgm:pt modelId="{DBC842EB-AC90-43E1-8B73-309C29633AC8}" type="parTrans" cxnId="{2F3C5089-FAE6-4C1C-A0C8-2B0175BDC42D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EC4807B6-858E-4B33-8399-DA4B74BC8AA5}" type="sibTrans" cxnId="{2F3C5089-FAE6-4C1C-A0C8-2B0175BDC42D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4A96AFF3-FE2F-4313-920A-81E562CA0D1E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Log Files</a:t>
          </a:r>
        </a:p>
      </dgm:t>
    </dgm:pt>
    <dgm:pt modelId="{729C0DBD-9537-49A2-AD0B-48EFC008B91F}" type="parTrans" cxnId="{EAAC9C62-6134-455B-A7DA-CC3B73BC01E2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4AFF06FE-7576-40A1-9610-93F1D17E8821}" type="sibTrans" cxnId="{EAAC9C62-6134-455B-A7DA-CC3B73BC01E2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FDE735F7-34F9-4A0B-BB28-963271E421ED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Configuration Files</a:t>
          </a:r>
        </a:p>
      </dgm:t>
    </dgm:pt>
    <dgm:pt modelId="{9091F174-6E17-46AA-9751-9D8DC35DE9C9}" type="parTrans" cxnId="{E1875814-2437-4087-A6EC-8DA40A85E464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6C9CDB4B-E5CE-4F82-B439-33D536246217}" type="sibTrans" cxnId="{E1875814-2437-4087-A6EC-8DA40A85E464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8838C808-504A-412C-A37E-E4A3678867BA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Printer Spool Files</a:t>
          </a:r>
        </a:p>
      </dgm:t>
    </dgm:pt>
    <dgm:pt modelId="{FD0112AD-5866-48A7-ADD5-B98C640CC0F3}" type="parTrans" cxnId="{6D7E8CE3-48D5-4471-A894-3C602101B7A1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143E2FF3-5E20-40C3-80B9-08B87C6A8F57}" type="sibTrans" cxnId="{6D7E8CE3-48D5-4471-A894-3C602101B7A1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C60BF035-B0AB-4F81-97E6-9AC8968E8AD4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Cookies</a:t>
          </a:r>
        </a:p>
      </dgm:t>
    </dgm:pt>
    <dgm:pt modelId="{F92A5221-8DFC-4B79-891F-6E2074954E0A}" type="parTrans" cxnId="{761FB9D4-BB69-49B2-95AB-A84895824D3E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7E50D0FE-3767-4AC4-A381-89C2F3FE4C7A}" type="sibTrans" cxnId="{761FB9D4-BB69-49B2-95AB-A84895824D3E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D6FF1AD5-C787-4FC0-98FD-46D00D53E721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Swap Files</a:t>
          </a:r>
        </a:p>
      </dgm:t>
    </dgm:pt>
    <dgm:pt modelId="{42233BDC-2078-43E2-A935-CF75A2B5AC65}" type="parTrans" cxnId="{A6BDA8BB-6602-418A-8134-B6857CE4D908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2369DCB9-626D-45B8-AF5C-B1F32CCCF315}" type="sibTrans" cxnId="{A6BDA8BB-6602-418A-8134-B6857CE4D908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4DA310B4-F18B-41A4-A81A-FC9AF30FFD81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System Files</a:t>
          </a:r>
        </a:p>
      </dgm:t>
    </dgm:pt>
    <dgm:pt modelId="{E624B892-A329-46FD-A57E-96D864D41CFF}" type="parTrans" cxnId="{27891719-2518-4BDB-86BD-CD6936E6B5E0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332EA066-82D8-4174-8181-4DD11510E604}" type="sibTrans" cxnId="{27891719-2518-4BDB-86BD-CD6936E6B5E0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FD4F337B-C705-4A7B-914E-C164440D8028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History Files</a:t>
          </a:r>
        </a:p>
      </dgm:t>
    </dgm:pt>
    <dgm:pt modelId="{FC4B2075-0E4A-4FA5-883A-C20B7376AE86}" type="parTrans" cxnId="{6EAA58E5-E6BD-4616-9451-D8276A450FB1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0946D615-6078-4741-AC4C-924518908C6B}" type="sibTrans" cxnId="{6EAA58E5-E6BD-4616-9451-D8276A450FB1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72AAC622-5FA5-41E4-BE65-1E6F45DD84F0}">
      <dgm:prSet/>
      <dgm:spPr/>
      <dgm:t>
        <a:bodyPr/>
        <a:lstStyle/>
        <a:p>
          <a:r>
            <a:rPr lang="en-US" dirty="0">
              <a:solidFill>
                <a:srgbClr val="00B0F0"/>
              </a:solidFill>
            </a:rPr>
            <a:t>Temporary Files</a:t>
          </a:r>
        </a:p>
      </dgm:t>
    </dgm:pt>
    <dgm:pt modelId="{FFCCE05A-7D37-467A-8A0D-51C74C5AAF25}" type="parTrans" cxnId="{AF695770-517F-419B-AF95-57F87E13BDC5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A2718CFD-FA6B-496F-B316-AC4667A55223}" type="sibTrans" cxnId="{AF695770-517F-419B-AF95-57F87E13BDC5}">
      <dgm:prSet/>
      <dgm:spPr/>
      <dgm:t>
        <a:bodyPr/>
        <a:lstStyle/>
        <a:p>
          <a:endParaRPr lang="en-US">
            <a:solidFill>
              <a:srgbClr val="00B0F0"/>
            </a:solidFill>
          </a:endParaRPr>
        </a:p>
      </dgm:t>
    </dgm:pt>
    <dgm:pt modelId="{FEBF75D1-0003-4908-B8BA-E6CD23DF4C02}" type="pres">
      <dgm:prSet presAssocID="{528A9DC4-78AE-4350-8B1B-9E410450932C}" presName="Name0" presStyleCnt="0">
        <dgm:presLayoutVars>
          <dgm:dir/>
          <dgm:animLvl val="lvl"/>
          <dgm:resizeHandles val="exact"/>
        </dgm:presLayoutVars>
      </dgm:prSet>
      <dgm:spPr/>
    </dgm:pt>
    <dgm:pt modelId="{06375071-5B5D-444C-859F-B0A41236BD2E}" type="pres">
      <dgm:prSet presAssocID="{348A710E-BFCD-480F-BA8F-071B4902BF9E}" presName="linNode" presStyleCnt="0"/>
      <dgm:spPr/>
    </dgm:pt>
    <dgm:pt modelId="{CCE32989-58D7-428D-BE58-A47E7525CD65}" type="pres">
      <dgm:prSet presAssocID="{348A710E-BFCD-480F-BA8F-071B4902BF9E}" presName="parTx" presStyleLbl="revTx" presStyleIdx="0" presStyleCnt="9">
        <dgm:presLayoutVars>
          <dgm:chMax val="1"/>
          <dgm:bulletEnabled val="1"/>
        </dgm:presLayoutVars>
      </dgm:prSet>
      <dgm:spPr/>
    </dgm:pt>
    <dgm:pt modelId="{5423442B-3412-4B69-A4F6-25232DBAE279}" type="pres">
      <dgm:prSet presAssocID="{348A710E-BFCD-480F-BA8F-071B4902BF9E}" presName="bracket" presStyleLbl="parChTrans1D1" presStyleIdx="0" presStyleCnt="9"/>
      <dgm:spPr/>
    </dgm:pt>
    <dgm:pt modelId="{3EFC188F-40AA-4514-98D9-3BF6AFE366B5}" type="pres">
      <dgm:prSet presAssocID="{348A710E-BFCD-480F-BA8F-071B4902BF9E}" presName="spH" presStyleCnt="0"/>
      <dgm:spPr/>
    </dgm:pt>
    <dgm:pt modelId="{06C6162C-962A-4E6B-A20F-1ED33AD57F2B}" type="pres">
      <dgm:prSet presAssocID="{EC4807B6-858E-4B33-8399-DA4B74BC8AA5}" presName="spV" presStyleCnt="0"/>
      <dgm:spPr/>
    </dgm:pt>
    <dgm:pt modelId="{4E15194C-C5C2-4F9D-96A8-48BF61FDD12B}" type="pres">
      <dgm:prSet presAssocID="{4A96AFF3-FE2F-4313-920A-81E562CA0D1E}" presName="linNode" presStyleCnt="0"/>
      <dgm:spPr/>
    </dgm:pt>
    <dgm:pt modelId="{9789D2CD-8595-407F-A571-DAA44025BC33}" type="pres">
      <dgm:prSet presAssocID="{4A96AFF3-FE2F-4313-920A-81E562CA0D1E}" presName="parTx" presStyleLbl="revTx" presStyleIdx="1" presStyleCnt="9">
        <dgm:presLayoutVars>
          <dgm:chMax val="1"/>
          <dgm:bulletEnabled val="1"/>
        </dgm:presLayoutVars>
      </dgm:prSet>
      <dgm:spPr/>
    </dgm:pt>
    <dgm:pt modelId="{264CCDEB-6DD2-4C1A-B6F5-F10F85DB4735}" type="pres">
      <dgm:prSet presAssocID="{4A96AFF3-FE2F-4313-920A-81E562CA0D1E}" presName="bracket" presStyleLbl="parChTrans1D1" presStyleIdx="1" presStyleCnt="9"/>
      <dgm:spPr/>
    </dgm:pt>
    <dgm:pt modelId="{3FA41C81-C5A5-449C-B73C-E59643B717D5}" type="pres">
      <dgm:prSet presAssocID="{4A96AFF3-FE2F-4313-920A-81E562CA0D1E}" presName="spH" presStyleCnt="0"/>
      <dgm:spPr/>
    </dgm:pt>
    <dgm:pt modelId="{1F1A389D-B1B6-471F-94ED-345E494255C1}" type="pres">
      <dgm:prSet presAssocID="{4AFF06FE-7576-40A1-9610-93F1D17E8821}" presName="spV" presStyleCnt="0"/>
      <dgm:spPr/>
    </dgm:pt>
    <dgm:pt modelId="{E6346E3B-1E52-4E5A-9C04-5EE5C19E7C11}" type="pres">
      <dgm:prSet presAssocID="{FDE735F7-34F9-4A0B-BB28-963271E421ED}" presName="linNode" presStyleCnt="0"/>
      <dgm:spPr/>
    </dgm:pt>
    <dgm:pt modelId="{E271A4EA-E2E5-4012-9743-C1EFB7C7AD27}" type="pres">
      <dgm:prSet presAssocID="{FDE735F7-34F9-4A0B-BB28-963271E421ED}" presName="parTx" presStyleLbl="revTx" presStyleIdx="2" presStyleCnt="9">
        <dgm:presLayoutVars>
          <dgm:chMax val="1"/>
          <dgm:bulletEnabled val="1"/>
        </dgm:presLayoutVars>
      </dgm:prSet>
      <dgm:spPr/>
    </dgm:pt>
    <dgm:pt modelId="{0E97036A-DA29-4014-A50A-4E6221384590}" type="pres">
      <dgm:prSet presAssocID="{FDE735F7-34F9-4A0B-BB28-963271E421ED}" presName="bracket" presStyleLbl="parChTrans1D1" presStyleIdx="2" presStyleCnt="9"/>
      <dgm:spPr/>
    </dgm:pt>
    <dgm:pt modelId="{2855A4D4-DFBD-45E5-B316-105A8B0FF9EB}" type="pres">
      <dgm:prSet presAssocID="{FDE735F7-34F9-4A0B-BB28-963271E421ED}" presName="spH" presStyleCnt="0"/>
      <dgm:spPr/>
    </dgm:pt>
    <dgm:pt modelId="{CABB215F-3398-43DF-8006-DA47D7A2F566}" type="pres">
      <dgm:prSet presAssocID="{6C9CDB4B-E5CE-4F82-B439-33D536246217}" presName="spV" presStyleCnt="0"/>
      <dgm:spPr/>
    </dgm:pt>
    <dgm:pt modelId="{BA1963DE-C8ED-4C0F-8BDA-71ECFB2A5988}" type="pres">
      <dgm:prSet presAssocID="{8838C808-504A-412C-A37E-E4A3678867BA}" presName="linNode" presStyleCnt="0"/>
      <dgm:spPr/>
    </dgm:pt>
    <dgm:pt modelId="{C779B202-FA18-4EF7-B6E2-70F7D6370C0A}" type="pres">
      <dgm:prSet presAssocID="{8838C808-504A-412C-A37E-E4A3678867BA}" presName="parTx" presStyleLbl="revTx" presStyleIdx="3" presStyleCnt="9">
        <dgm:presLayoutVars>
          <dgm:chMax val="1"/>
          <dgm:bulletEnabled val="1"/>
        </dgm:presLayoutVars>
      </dgm:prSet>
      <dgm:spPr/>
    </dgm:pt>
    <dgm:pt modelId="{7C3525A4-ECB0-43C9-B764-BD533E465895}" type="pres">
      <dgm:prSet presAssocID="{8838C808-504A-412C-A37E-E4A3678867BA}" presName="bracket" presStyleLbl="parChTrans1D1" presStyleIdx="3" presStyleCnt="9"/>
      <dgm:spPr/>
    </dgm:pt>
    <dgm:pt modelId="{40A2D33C-58F1-4AF8-9E30-835A13C6CFD8}" type="pres">
      <dgm:prSet presAssocID="{8838C808-504A-412C-A37E-E4A3678867BA}" presName="spH" presStyleCnt="0"/>
      <dgm:spPr/>
    </dgm:pt>
    <dgm:pt modelId="{4E7100FA-A414-4454-A945-33DEAF2AC14C}" type="pres">
      <dgm:prSet presAssocID="{143E2FF3-5E20-40C3-80B9-08B87C6A8F57}" presName="spV" presStyleCnt="0"/>
      <dgm:spPr/>
    </dgm:pt>
    <dgm:pt modelId="{4C02ADA2-BBC7-47A4-A9B7-F4E2F0660E6E}" type="pres">
      <dgm:prSet presAssocID="{C60BF035-B0AB-4F81-97E6-9AC8968E8AD4}" presName="linNode" presStyleCnt="0"/>
      <dgm:spPr/>
    </dgm:pt>
    <dgm:pt modelId="{2426FBEC-8B3A-47E6-B941-98BB196C9518}" type="pres">
      <dgm:prSet presAssocID="{C60BF035-B0AB-4F81-97E6-9AC8968E8AD4}" presName="parTx" presStyleLbl="revTx" presStyleIdx="4" presStyleCnt="9">
        <dgm:presLayoutVars>
          <dgm:chMax val="1"/>
          <dgm:bulletEnabled val="1"/>
        </dgm:presLayoutVars>
      </dgm:prSet>
      <dgm:spPr/>
    </dgm:pt>
    <dgm:pt modelId="{9457508B-7399-43CA-8799-B6B28F6628C3}" type="pres">
      <dgm:prSet presAssocID="{C60BF035-B0AB-4F81-97E6-9AC8968E8AD4}" presName="bracket" presStyleLbl="parChTrans1D1" presStyleIdx="4" presStyleCnt="9"/>
      <dgm:spPr/>
    </dgm:pt>
    <dgm:pt modelId="{5F7D313A-1336-4F51-BA19-53A254E8D482}" type="pres">
      <dgm:prSet presAssocID="{C60BF035-B0AB-4F81-97E6-9AC8968E8AD4}" presName="spH" presStyleCnt="0"/>
      <dgm:spPr/>
    </dgm:pt>
    <dgm:pt modelId="{6AB8C5BC-44FE-4F03-8B3D-175C96ABEBBF}" type="pres">
      <dgm:prSet presAssocID="{7E50D0FE-3767-4AC4-A381-89C2F3FE4C7A}" presName="spV" presStyleCnt="0"/>
      <dgm:spPr/>
    </dgm:pt>
    <dgm:pt modelId="{C4DCDA92-6861-4F38-8662-F56B0D888103}" type="pres">
      <dgm:prSet presAssocID="{D6FF1AD5-C787-4FC0-98FD-46D00D53E721}" presName="linNode" presStyleCnt="0"/>
      <dgm:spPr/>
    </dgm:pt>
    <dgm:pt modelId="{1D6B55CE-B58A-4D6D-92D8-E1681BD11E88}" type="pres">
      <dgm:prSet presAssocID="{D6FF1AD5-C787-4FC0-98FD-46D00D53E721}" presName="parTx" presStyleLbl="revTx" presStyleIdx="5" presStyleCnt="9">
        <dgm:presLayoutVars>
          <dgm:chMax val="1"/>
          <dgm:bulletEnabled val="1"/>
        </dgm:presLayoutVars>
      </dgm:prSet>
      <dgm:spPr/>
    </dgm:pt>
    <dgm:pt modelId="{B029E4EF-8A13-482B-8635-73AE42E62ECC}" type="pres">
      <dgm:prSet presAssocID="{D6FF1AD5-C787-4FC0-98FD-46D00D53E721}" presName="bracket" presStyleLbl="parChTrans1D1" presStyleIdx="5" presStyleCnt="9"/>
      <dgm:spPr/>
    </dgm:pt>
    <dgm:pt modelId="{F2410B30-398C-48E8-888B-93CE7ECDF3BD}" type="pres">
      <dgm:prSet presAssocID="{D6FF1AD5-C787-4FC0-98FD-46D00D53E721}" presName="spH" presStyleCnt="0"/>
      <dgm:spPr/>
    </dgm:pt>
    <dgm:pt modelId="{E839C362-EAA6-4E50-B24B-BD3152AF26B7}" type="pres">
      <dgm:prSet presAssocID="{2369DCB9-626D-45B8-AF5C-B1F32CCCF315}" presName="spV" presStyleCnt="0"/>
      <dgm:spPr/>
    </dgm:pt>
    <dgm:pt modelId="{B6D73197-7E84-4B53-96CC-9ABD76881900}" type="pres">
      <dgm:prSet presAssocID="{4DA310B4-F18B-41A4-A81A-FC9AF30FFD81}" presName="linNode" presStyleCnt="0"/>
      <dgm:spPr/>
    </dgm:pt>
    <dgm:pt modelId="{D57422ED-F6EC-48E1-8060-60DD16C19FBF}" type="pres">
      <dgm:prSet presAssocID="{4DA310B4-F18B-41A4-A81A-FC9AF30FFD81}" presName="parTx" presStyleLbl="revTx" presStyleIdx="6" presStyleCnt="9">
        <dgm:presLayoutVars>
          <dgm:chMax val="1"/>
          <dgm:bulletEnabled val="1"/>
        </dgm:presLayoutVars>
      </dgm:prSet>
      <dgm:spPr/>
    </dgm:pt>
    <dgm:pt modelId="{7916A46A-AA32-45EE-89E2-8FBABB69D72B}" type="pres">
      <dgm:prSet presAssocID="{4DA310B4-F18B-41A4-A81A-FC9AF30FFD81}" presName="bracket" presStyleLbl="parChTrans1D1" presStyleIdx="6" presStyleCnt="9"/>
      <dgm:spPr/>
    </dgm:pt>
    <dgm:pt modelId="{B76DD906-0BF0-403B-9560-F650EC6D2079}" type="pres">
      <dgm:prSet presAssocID="{4DA310B4-F18B-41A4-A81A-FC9AF30FFD81}" presName="spH" presStyleCnt="0"/>
      <dgm:spPr/>
    </dgm:pt>
    <dgm:pt modelId="{A043848A-0160-4AC4-8EE0-587BF7E2B8CC}" type="pres">
      <dgm:prSet presAssocID="{332EA066-82D8-4174-8181-4DD11510E604}" presName="spV" presStyleCnt="0"/>
      <dgm:spPr/>
    </dgm:pt>
    <dgm:pt modelId="{0B7FF2B4-4987-42E3-BDB1-50567CBEE792}" type="pres">
      <dgm:prSet presAssocID="{FD4F337B-C705-4A7B-914E-C164440D8028}" presName="linNode" presStyleCnt="0"/>
      <dgm:spPr/>
    </dgm:pt>
    <dgm:pt modelId="{2CCAA475-2BF9-4800-A14E-AE6FE4A0332B}" type="pres">
      <dgm:prSet presAssocID="{FD4F337B-C705-4A7B-914E-C164440D8028}" presName="parTx" presStyleLbl="revTx" presStyleIdx="7" presStyleCnt="9">
        <dgm:presLayoutVars>
          <dgm:chMax val="1"/>
          <dgm:bulletEnabled val="1"/>
        </dgm:presLayoutVars>
      </dgm:prSet>
      <dgm:spPr/>
    </dgm:pt>
    <dgm:pt modelId="{565C631C-2527-4F8F-B9BA-ED2ED82CDF8B}" type="pres">
      <dgm:prSet presAssocID="{FD4F337B-C705-4A7B-914E-C164440D8028}" presName="bracket" presStyleLbl="parChTrans1D1" presStyleIdx="7" presStyleCnt="9"/>
      <dgm:spPr/>
    </dgm:pt>
    <dgm:pt modelId="{87C2F552-7232-4AA6-873D-0727C49B692B}" type="pres">
      <dgm:prSet presAssocID="{FD4F337B-C705-4A7B-914E-C164440D8028}" presName="spH" presStyleCnt="0"/>
      <dgm:spPr/>
    </dgm:pt>
    <dgm:pt modelId="{55FE03EF-37B0-4E87-8F75-D8A02721036F}" type="pres">
      <dgm:prSet presAssocID="{0946D615-6078-4741-AC4C-924518908C6B}" presName="spV" presStyleCnt="0"/>
      <dgm:spPr/>
    </dgm:pt>
    <dgm:pt modelId="{6AABB14D-0DD3-4CAA-B349-41C402D82036}" type="pres">
      <dgm:prSet presAssocID="{72AAC622-5FA5-41E4-BE65-1E6F45DD84F0}" presName="linNode" presStyleCnt="0"/>
      <dgm:spPr/>
    </dgm:pt>
    <dgm:pt modelId="{ADA917DA-6A89-4B99-81AD-8CFF1D424F05}" type="pres">
      <dgm:prSet presAssocID="{72AAC622-5FA5-41E4-BE65-1E6F45DD84F0}" presName="parTx" presStyleLbl="revTx" presStyleIdx="8" presStyleCnt="9">
        <dgm:presLayoutVars>
          <dgm:chMax val="1"/>
          <dgm:bulletEnabled val="1"/>
        </dgm:presLayoutVars>
      </dgm:prSet>
      <dgm:spPr/>
    </dgm:pt>
    <dgm:pt modelId="{21632671-DE81-42BC-BA17-C9AD5CAB70BE}" type="pres">
      <dgm:prSet presAssocID="{72AAC622-5FA5-41E4-BE65-1E6F45DD84F0}" presName="bracket" presStyleLbl="parChTrans1D1" presStyleIdx="8" presStyleCnt="9"/>
      <dgm:spPr/>
    </dgm:pt>
    <dgm:pt modelId="{18EB69B7-CBFE-40FE-8168-6761D5D91231}" type="pres">
      <dgm:prSet presAssocID="{72AAC622-5FA5-41E4-BE65-1E6F45DD84F0}" presName="spH" presStyleCnt="0"/>
      <dgm:spPr/>
    </dgm:pt>
  </dgm:ptLst>
  <dgm:cxnLst>
    <dgm:cxn modelId="{8DD2370C-BDCA-4D36-8E70-EE2DAF9A167B}" type="presOf" srcId="{348A710E-BFCD-480F-BA8F-071B4902BF9E}" destId="{CCE32989-58D7-428D-BE58-A47E7525CD65}" srcOrd="0" destOrd="0" presId="urn:diagrams.loki3.com/BracketList"/>
    <dgm:cxn modelId="{E1875814-2437-4087-A6EC-8DA40A85E464}" srcId="{528A9DC4-78AE-4350-8B1B-9E410450932C}" destId="{FDE735F7-34F9-4A0B-BB28-963271E421ED}" srcOrd="2" destOrd="0" parTransId="{9091F174-6E17-46AA-9751-9D8DC35DE9C9}" sibTransId="{6C9CDB4B-E5CE-4F82-B439-33D536246217}"/>
    <dgm:cxn modelId="{9C704817-EFA0-4BE8-8956-82C539CF36F5}" type="presOf" srcId="{FD4F337B-C705-4A7B-914E-C164440D8028}" destId="{2CCAA475-2BF9-4800-A14E-AE6FE4A0332B}" srcOrd="0" destOrd="0" presId="urn:diagrams.loki3.com/BracketList"/>
    <dgm:cxn modelId="{27891719-2518-4BDB-86BD-CD6936E6B5E0}" srcId="{528A9DC4-78AE-4350-8B1B-9E410450932C}" destId="{4DA310B4-F18B-41A4-A81A-FC9AF30FFD81}" srcOrd="6" destOrd="0" parTransId="{E624B892-A329-46FD-A57E-96D864D41CFF}" sibTransId="{332EA066-82D8-4174-8181-4DD11510E604}"/>
    <dgm:cxn modelId="{5F157C36-51F6-43C7-B0BC-FF6FB1BB2607}" type="presOf" srcId="{4DA310B4-F18B-41A4-A81A-FC9AF30FFD81}" destId="{D57422ED-F6EC-48E1-8060-60DD16C19FBF}" srcOrd="0" destOrd="0" presId="urn:diagrams.loki3.com/BracketList"/>
    <dgm:cxn modelId="{A056AB3F-39F6-4141-AD5A-F1D986B0645E}" type="presOf" srcId="{4A96AFF3-FE2F-4313-920A-81E562CA0D1E}" destId="{9789D2CD-8595-407F-A571-DAA44025BC33}" srcOrd="0" destOrd="0" presId="urn:diagrams.loki3.com/BracketList"/>
    <dgm:cxn modelId="{EAAC9C62-6134-455B-A7DA-CC3B73BC01E2}" srcId="{528A9DC4-78AE-4350-8B1B-9E410450932C}" destId="{4A96AFF3-FE2F-4313-920A-81E562CA0D1E}" srcOrd="1" destOrd="0" parTransId="{729C0DBD-9537-49A2-AD0B-48EFC008B91F}" sibTransId="{4AFF06FE-7576-40A1-9610-93F1D17E8821}"/>
    <dgm:cxn modelId="{C3F64A48-9335-41CC-AF24-A6A184C8AA63}" type="presOf" srcId="{FDE735F7-34F9-4A0B-BB28-963271E421ED}" destId="{E271A4EA-E2E5-4012-9743-C1EFB7C7AD27}" srcOrd="0" destOrd="0" presId="urn:diagrams.loki3.com/BracketList"/>
    <dgm:cxn modelId="{AF695770-517F-419B-AF95-57F87E13BDC5}" srcId="{528A9DC4-78AE-4350-8B1B-9E410450932C}" destId="{72AAC622-5FA5-41E4-BE65-1E6F45DD84F0}" srcOrd="8" destOrd="0" parTransId="{FFCCE05A-7D37-467A-8A0D-51C74C5AAF25}" sibTransId="{A2718CFD-FA6B-496F-B316-AC4667A55223}"/>
    <dgm:cxn modelId="{2EF30E7B-62B1-48D3-BA22-985ED7F9E862}" type="presOf" srcId="{C60BF035-B0AB-4F81-97E6-9AC8968E8AD4}" destId="{2426FBEC-8B3A-47E6-B941-98BB196C9518}" srcOrd="0" destOrd="0" presId="urn:diagrams.loki3.com/BracketList"/>
    <dgm:cxn modelId="{2F3C5089-FAE6-4C1C-A0C8-2B0175BDC42D}" srcId="{528A9DC4-78AE-4350-8B1B-9E410450932C}" destId="{348A710E-BFCD-480F-BA8F-071B4902BF9E}" srcOrd="0" destOrd="0" parTransId="{DBC842EB-AC90-43E1-8B73-309C29633AC8}" sibTransId="{EC4807B6-858E-4B33-8399-DA4B74BC8AA5}"/>
    <dgm:cxn modelId="{E3823899-FF3C-4C15-BEDF-9F7479839524}" type="presOf" srcId="{72AAC622-5FA5-41E4-BE65-1E6F45DD84F0}" destId="{ADA917DA-6A89-4B99-81AD-8CFF1D424F05}" srcOrd="0" destOrd="0" presId="urn:diagrams.loki3.com/BracketList"/>
    <dgm:cxn modelId="{7BE5CAA0-8CB0-4A19-9119-FCE4C58957E2}" type="presOf" srcId="{D6FF1AD5-C787-4FC0-98FD-46D00D53E721}" destId="{1D6B55CE-B58A-4D6D-92D8-E1681BD11E88}" srcOrd="0" destOrd="0" presId="urn:diagrams.loki3.com/BracketList"/>
    <dgm:cxn modelId="{A6BDA8BB-6602-418A-8134-B6857CE4D908}" srcId="{528A9DC4-78AE-4350-8B1B-9E410450932C}" destId="{D6FF1AD5-C787-4FC0-98FD-46D00D53E721}" srcOrd="5" destOrd="0" parTransId="{42233BDC-2078-43E2-A935-CF75A2B5AC65}" sibTransId="{2369DCB9-626D-45B8-AF5C-B1F32CCCF315}"/>
    <dgm:cxn modelId="{7CBBAAC0-EE3D-45BA-B7EB-1986B21DA4D9}" type="presOf" srcId="{8838C808-504A-412C-A37E-E4A3678867BA}" destId="{C779B202-FA18-4EF7-B6E2-70F7D6370C0A}" srcOrd="0" destOrd="0" presId="urn:diagrams.loki3.com/BracketList"/>
    <dgm:cxn modelId="{761FB9D4-BB69-49B2-95AB-A84895824D3E}" srcId="{528A9DC4-78AE-4350-8B1B-9E410450932C}" destId="{C60BF035-B0AB-4F81-97E6-9AC8968E8AD4}" srcOrd="4" destOrd="0" parTransId="{F92A5221-8DFC-4B79-891F-6E2074954E0A}" sibTransId="{7E50D0FE-3767-4AC4-A381-89C2F3FE4C7A}"/>
    <dgm:cxn modelId="{CF1835E3-F668-4753-BE25-B2429B9CE85D}" type="presOf" srcId="{528A9DC4-78AE-4350-8B1B-9E410450932C}" destId="{FEBF75D1-0003-4908-B8BA-E6CD23DF4C02}" srcOrd="0" destOrd="0" presId="urn:diagrams.loki3.com/BracketList"/>
    <dgm:cxn modelId="{6D7E8CE3-48D5-4471-A894-3C602101B7A1}" srcId="{528A9DC4-78AE-4350-8B1B-9E410450932C}" destId="{8838C808-504A-412C-A37E-E4A3678867BA}" srcOrd="3" destOrd="0" parTransId="{FD0112AD-5866-48A7-ADD5-B98C640CC0F3}" sibTransId="{143E2FF3-5E20-40C3-80B9-08B87C6A8F57}"/>
    <dgm:cxn modelId="{6EAA58E5-E6BD-4616-9451-D8276A450FB1}" srcId="{528A9DC4-78AE-4350-8B1B-9E410450932C}" destId="{FD4F337B-C705-4A7B-914E-C164440D8028}" srcOrd="7" destOrd="0" parTransId="{FC4B2075-0E4A-4FA5-883A-C20B7376AE86}" sibTransId="{0946D615-6078-4741-AC4C-924518908C6B}"/>
    <dgm:cxn modelId="{61AA4CA1-64F4-4433-954A-0057F600CBD7}" type="presParOf" srcId="{FEBF75D1-0003-4908-B8BA-E6CD23DF4C02}" destId="{06375071-5B5D-444C-859F-B0A41236BD2E}" srcOrd="0" destOrd="0" presId="urn:diagrams.loki3.com/BracketList"/>
    <dgm:cxn modelId="{3197BE48-3A97-4CA1-B791-0F5BE9030185}" type="presParOf" srcId="{06375071-5B5D-444C-859F-B0A41236BD2E}" destId="{CCE32989-58D7-428D-BE58-A47E7525CD65}" srcOrd="0" destOrd="0" presId="urn:diagrams.loki3.com/BracketList"/>
    <dgm:cxn modelId="{B19CC27D-DF78-4339-A6DB-F8B718C5AAC1}" type="presParOf" srcId="{06375071-5B5D-444C-859F-B0A41236BD2E}" destId="{5423442B-3412-4B69-A4F6-25232DBAE279}" srcOrd="1" destOrd="0" presId="urn:diagrams.loki3.com/BracketList"/>
    <dgm:cxn modelId="{BE528528-5924-42F8-8AF4-4F5CD996DE07}" type="presParOf" srcId="{06375071-5B5D-444C-859F-B0A41236BD2E}" destId="{3EFC188F-40AA-4514-98D9-3BF6AFE366B5}" srcOrd="2" destOrd="0" presId="urn:diagrams.loki3.com/BracketList"/>
    <dgm:cxn modelId="{03ACE014-90DE-4BD6-BE61-5A2006377796}" type="presParOf" srcId="{FEBF75D1-0003-4908-B8BA-E6CD23DF4C02}" destId="{06C6162C-962A-4E6B-A20F-1ED33AD57F2B}" srcOrd="1" destOrd="0" presId="urn:diagrams.loki3.com/BracketList"/>
    <dgm:cxn modelId="{CE857F71-E50D-4418-AE65-B9C5D85B3341}" type="presParOf" srcId="{FEBF75D1-0003-4908-B8BA-E6CD23DF4C02}" destId="{4E15194C-C5C2-4F9D-96A8-48BF61FDD12B}" srcOrd="2" destOrd="0" presId="urn:diagrams.loki3.com/BracketList"/>
    <dgm:cxn modelId="{41546497-BCAA-41A7-86CC-B364D3D7A4E0}" type="presParOf" srcId="{4E15194C-C5C2-4F9D-96A8-48BF61FDD12B}" destId="{9789D2CD-8595-407F-A571-DAA44025BC33}" srcOrd="0" destOrd="0" presId="urn:diagrams.loki3.com/BracketList"/>
    <dgm:cxn modelId="{C39C153D-12CA-47BC-90CF-C4E14E2ECC2F}" type="presParOf" srcId="{4E15194C-C5C2-4F9D-96A8-48BF61FDD12B}" destId="{264CCDEB-6DD2-4C1A-B6F5-F10F85DB4735}" srcOrd="1" destOrd="0" presId="urn:diagrams.loki3.com/BracketList"/>
    <dgm:cxn modelId="{C6AEAE4E-CD2F-4663-90C1-2430AFFAB1B1}" type="presParOf" srcId="{4E15194C-C5C2-4F9D-96A8-48BF61FDD12B}" destId="{3FA41C81-C5A5-449C-B73C-E59643B717D5}" srcOrd="2" destOrd="0" presId="urn:diagrams.loki3.com/BracketList"/>
    <dgm:cxn modelId="{AECB0C8B-0EF0-47D8-964A-09F29E94E7CF}" type="presParOf" srcId="{FEBF75D1-0003-4908-B8BA-E6CD23DF4C02}" destId="{1F1A389D-B1B6-471F-94ED-345E494255C1}" srcOrd="3" destOrd="0" presId="urn:diagrams.loki3.com/BracketList"/>
    <dgm:cxn modelId="{15BFAC61-6B8F-4BB8-98A8-C7AE506BE384}" type="presParOf" srcId="{FEBF75D1-0003-4908-B8BA-E6CD23DF4C02}" destId="{E6346E3B-1E52-4E5A-9C04-5EE5C19E7C11}" srcOrd="4" destOrd="0" presId="urn:diagrams.loki3.com/BracketList"/>
    <dgm:cxn modelId="{F665C184-3349-499B-8D7C-3AB128AFB349}" type="presParOf" srcId="{E6346E3B-1E52-4E5A-9C04-5EE5C19E7C11}" destId="{E271A4EA-E2E5-4012-9743-C1EFB7C7AD27}" srcOrd="0" destOrd="0" presId="urn:diagrams.loki3.com/BracketList"/>
    <dgm:cxn modelId="{5C2583C8-2673-431C-B5F4-FDCA95DA2584}" type="presParOf" srcId="{E6346E3B-1E52-4E5A-9C04-5EE5C19E7C11}" destId="{0E97036A-DA29-4014-A50A-4E6221384590}" srcOrd="1" destOrd="0" presId="urn:diagrams.loki3.com/BracketList"/>
    <dgm:cxn modelId="{0C06DB3E-8E64-4C11-891E-F5CF061618F7}" type="presParOf" srcId="{E6346E3B-1E52-4E5A-9C04-5EE5C19E7C11}" destId="{2855A4D4-DFBD-45E5-B316-105A8B0FF9EB}" srcOrd="2" destOrd="0" presId="urn:diagrams.loki3.com/BracketList"/>
    <dgm:cxn modelId="{83405E5A-B0F6-461A-8915-8B15E910B8BD}" type="presParOf" srcId="{FEBF75D1-0003-4908-B8BA-E6CD23DF4C02}" destId="{CABB215F-3398-43DF-8006-DA47D7A2F566}" srcOrd="5" destOrd="0" presId="urn:diagrams.loki3.com/BracketList"/>
    <dgm:cxn modelId="{FD1BEDC2-4B05-4B5C-ABA4-6A66A049BE32}" type="presParOf" srcId="{FEBF75D1-0003-4908-B8BA-E6CD23DF4C02}" destId="{BA1963DE-C8ED-4C0F-8BDA-71ECFB2A5988}" srcOrd="6" destOrd="0" presId="urn:diagrams.loki3.com/BracketList"/>
    <dgm:cxn modelId="{0DC7A1BB-DA05-4B10-A706-2D20E34A0294}" type="presParOf" srcId="{BA1963DE-C8ED-4C0F-8BDA-71ECFB2A5988}" destId="{C779B202-FA18-4EF7-B6E2-70F7D6370C0A}" srcOrd="0" destOrd="0" presId="urn:diagrams.loki3.com/BracketList"/>
    <dgm:cxn modelId="{CB14769F-818D-4906-A23F-75D5F2CEDFD1}" type="presParOf" srcId="{BA1963DE-C8ED-4C0F-8BDA-71ECFB2A5988}" destId="{7C3525A4-ECB0-43C9-B764-BD533E465895}" srcOrd="1" destOrd="0" presId="urn:diagrams.loki3.com/BracketList"/>
    <dgm:cxn modelId="{948656E6-AE40-4CD4-BF23-1EAD71E593AB}" type="presParOf" srcId="{BA1963DE-C8ED-4C0F-8BDA-71ECFB2A5988}" destId="{40A2D33C-58F1-4AF8-9E30-835A13C6CFD8}" srcOrd="2" destOrd="0" presId="urn:diagrams.loki3.com/BracketList"/>
    <dgm:cxn modelId="{3BC28173-0E4C-471B-BE9B-FCC61498DB9F}" type="presParOf" srcId="{FEBF75D1-0003-4908-B8BA-E6CD23DF4C02}" destId="{4E7100FA-A414-4454-A945-33DEAF2AC14C}" srcOrd="7" destOrd="0" presId="urn:diagrams.loki3.com/BracketList"/>
    <dgm:cxn modelId="{A373A8CB-5064-4B5C-87F9-E9BA159275B4}" type="presParOf" srcId="{FEBF75D1-0003-4908-B8BA-E6CD23DF4C02}" destId="{4C02ADA2-BBC7-47A4-A9B7-F4E2F0660E6E}" srcOrd="8" destOrd="0" presId="urn:diagrams.loki3.com/BracketList"/>
    <dgm:cxn modelId="{5C56B6BE-D678-4BC9-9EBC-76E880372F05}" type="presParOf" srcId="{4C02ADA2-BBC7-47A4-A9B7-F4E2F0660E6E}" destId="{2426FBEC-8B3A-47E6-B941-98BB196C9518}" srcOrd="0" destOrd="0" presId="urn:diagrams.loki3.com/BracketList"/>
    <dgm:cxn modelId="{DFD8C701-5FB8-4102-85B1-1D513F7EB514}" type="presParOf" srcId="{4C02ADA2-BBC7-47A4-A9B7-F4E2F0660E6E}" destId="{9457508B-7399-43CA-8799-B6B28F6628C3}" srcOrd="1" destOrd="0" presId="urn:diagrams.loki3.com/BracketList"/>
    <dgm:cxn modelId="{8EC4DA9A-1AA6-4E2B-A7AF-BB3C2A690B55}" type="presParOf" srcId="{4C02ADA2-BBC7-47A4-A9B7-F4E2F0660E6E}" destId="{5F7D313A-1336-4F51-BA19-53A254E8D482}" srcOrd="2" destOrd="0" presId="urn:diagrams.loki3.com/BracketList"/>
    <dgm:cxn modelId="{693179F5-FCD8-48BC-B7D8-26FD95938910}" type="presParOf" srcId="{FEBF75D1-0003-4908-B8BA-E6CD23DF4C02}" destId="{6AB8C5BC-44FE-4F03-8B3D-175C96ABEBBF}" srcOrd="9" destOrd="0" presId="urn:diagrams.loki3.com/BracketList"/>
    <dgm:cxn modelId="{D4854986-AA77-42C2-8B29-58E6B5802E6D}" type="presParOf" srcId="{FEBF75D1-0003-4908-B8BA-E6CD23DF4C02}" destId="{C4DCDA92-6861-4F38-8662-F56B0D888103}" srcOrd="10" destOrd="0" presId="urn:diagrams.loki3.com/BracketList"/>
    <dgm:cxn modelId="{18A97CDA-FD58-4E00-99E8-392227708E8D}" type="presParOf" srcId="{C4DCDA92-6861-4F38-8662-F56B0D888103}" destId="{1D6B55CE-B58A-4D6D-92D8-E1681BD11E88}" srcOrd="0" destOrd="0" presId="urn:diagrams.loki3.com/BracketList"/>
    <dgm:cxn modelId="{ADEFE633-4EB8-4B62-A18E-22B7833BA7ED}" type="presParOf" srcId="{C4DCDA92-6861-4F38-8662-F56B0D888103}" destId="{B029E4EF-8A13-482B-8635-73AE42E62ECC}" srcOrd="1" destOrd="0" presId="urn:diagrams.loki3.com/BracketList"/>
    <dgm:cxn modelId="{1CEEF059-A126-4EA0-818A-5F99994C27D3}" type="presParOf" srcId="{C4DCDA92-6861-4F38-8662-F56B0D888103}" destId="{F2410B30-398C-48E8-888B-93CE7ECDF3BD}" srcOrd="2" destOrd="0" presId="urn:diagrams.loki3.com/BracketList"/>
    <dgm:cxn modelId="{4709914E-BFC3-45D1-B9B5-944700EBC2CE}" type="presParOf" srcId="{FEBF75D1-0003-4908-B8BA-E6CD23DF4C02}" destId="{E839C362-EAA6-4E50-B24B-BD3152AF26B7}" srcOrd="11" destOrd="0" presId="urn:diagrams.loki3.com/BracketList"/>
    <dgm:cxn modelId="{179E4604-9207-4E7B-8184-12C8034096AA}" type="presParOf" srcId="{FEBF75D1-0003-4908-B8BA-E6CD23DF4C02}" destId="{B6D73197-7E84-4B53-96CC-9ABD76881900}" srcOrd="12" destOrd="0" presId="urn:diagrams.loki3.com/BracketList"/>
    <dgm:cxn modelId="{B8B182F6-E1AA-4944-B8D0-D261A9CA7789}" type="presParOf" srcId="{B6D73197-7E84-4B53-96CC-9ABD76881900}" destId="{D57422ED-F6EC-48E1-8060-60DD16C19FBF}" srcOrd="0" destOrd="0" presId="urn:diagrams.loki3.com/BracketList"/>
    <dgm:cxn modelId="{CE28D4BF-F0C3-4F6E-A122-145475F293C4}" type="presParOf" srcId="{B6D73197-7E84-4B53-96CC-9ABD76881900}" destId="{7916A46A-AA32-45EE-89E2-8FBABB69D72B}" srcOrd="1" destOrd="0" presId="urn:diagrams.loki3.com/BracketList"/>
    <dgm:cxn modelId="{57849747-E6B5-4685-B8C3-EF7C89645E59}" type="presParOf" srcId="{B6D73197-7E84-4B53-96CC-9ABD76881900}" destId="{B76DD906-0BF0-403B-9560-F650EC6D2079}" srcOrd="2" destOrd="0" presId="urn:diagrams.loki3.com/BracketList"/>
    <dgm:cxn modelId="{15DA19AC-9FA1-497F-9D8A-D978290C95DF}" type="presParOf" srcId="{FEBF75D1-0003-4908-B8BA-E6CD23DF4C02}" destId="{A043848A-0160-4AC4-8EE0-587BF7E2B8CC}" srcOrd="13" destOrd="0" presId="urn:diagrams.loki3.com/BracketList"/>
    <dgm:cxn modelId="{7DABEFE2-4A95-4BDE-A808-F71D03D1BD53}" type="presParOf" srcId="{FEBF75D1-0003-4908-B8BA-E6CD23DF4C02}" destId="{0B7FF2B4-4987-42E3-BDB1-50567CBEE792}" srcOrd="14" destOrd="0" presId="urn:diagrams.loki3.com/BracketList"/>
    <dgm:cxn modelId="{95C6B7F2-63C3-4F51-B26E-1CE51FD03CBC}" type="presParOf" srcId="{0B7FF2B4-4987-42E3-BDB1-50567CBEE792}" destId="{2CCAA475-2BF9-4800-A14E-AE6FE4A0332B}" srcOrd="0" destOrd="0" presId="urn:diagrams.loki3.com/BracketList"/>
    <dgm:cxn modelId="{0D6DD89D-1377-4C23-92ED-37643DFAD033}" type="presParOf" srcId="{0B7FF2B4-4987-42E3-BDB1-50567CBEE792}" destId="{565C631C-2527-4F8F-B9BA-ED2ED82CDF8B}" srcOrd="1" destOrd="0" presId="urn:diagrams.loki3.com/BracketList"/>
    <dgm:cxn modelId="{AFB77765-2A0A-4021-BCD6-7A5AD30ACBEE}" type="presParOf" srcId="{0B7FF2B4-4987-42E3-BDB1-50567CBEE792}" destId="{87C2F552-7232-4AA6-873D-0727C49B692B}" srcOrd="2" destOrd="0" presId="urn:diagrams.loki3.com/BracketList"/>
    <dgm:cxn modelId="{70DF6247-E38F-4CAB-98AE-7D85C046771A}" type="presParOf" srcId="{FEBF75D1-0003-4908-B8BA-E6CD23DF4C02}" destId="{55FE03EF-37B0-4E87-8F75-D8A02721036F}" srcOrd="15" destOrd="0" presId="urn:diagrams.loki3.com/BracketList"/>
    <dgm:cxn modelId="{00A473DA-A6FE-47BE-AD93-883D4F495746}" type="presParOf" srcId="{FEBF75D1-0003-4908-B8BA-E6CD23DF4C02}" destId="{6AABB14D-0DD3-4CAA-B349-41C402D82036}" srcOrd="16" destOrd="0" presId="urn:diagrams.loki3.com/BracketList"/>
    <dgm:cxn modelId="{478D979B-56E8-4912-9400-00B6F1C8600C}" type="presParOf" srcId="{6AABB14D-0DD3-4CAA-B349-41C402D82036}" destId="{ADA917DA-6A89-4B99-81AD-8CFF1D424F05}" srcOrd="0" destOrd="0" presId="urn:diagrams.loki3.com/BracketList"/>
    <dgm:cxn modelId="{4907618F-C923-4B33-8C36-D0A7DCC38E1A}" type="presParOf" srcId="{6AABB14D-0DD3-4CAA-B349-41C402D82036}" destId="{21632671-DE81-42BC-BA17-C9AD5CAB70BE}" srcOrd="1" destOrd="0" presId="urn:diagrams.loki3.com/BracketList"/>
    <dgm:cxn modelId="{3C00510D-2DC6-415A-98B6-2B09BB901434}" type="presParOf" srcId="{6AABB14D-0DD3-4CAA-B349-41C402D82036}" destId="{18EB69B7-CBFE-40FE-8168-6761D5D91231}" srcOrd="2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E5EF866-CE8C-42CA-9989-26D6BA8EC803}" type="doc">
      <dgm:prSet loTypeId="urn:microsoft.com/office/officeart/2008/layout/Lin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B7762EEC-C2CD-4F62-BB31-55D0DA6EE3CA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Hard Drive</a:t>
          </a:r>
        </a:p>
      </dgm:t>
    </dgm:pt>
    <dgm:pt modelId="{EDA3E3AB-AFBA-42F4-91FA-5C261FA0649C}" type="parTrans" cxnId="{65AAC943-8373-4EA0-9ACF-94D41DB8C1DC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7AFF32DF-A8AE-4376-A6D1-33612E68538F}" type="sibTrans" cxnId="{65AAC943-8373-4EA0-9ACF-94D41DB8C1DC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955EA649-A175-4A0B-8C09-EE6C1034AF35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Memory Card</a:t>
          </a:r>
        </a:p>
      </dgm:t>
    </dgm:pt>
    <dgm:pt modelId="{1E5D0251-661D-4C5B-85CC-423C3DA17E97}" type="parTrans" cxnId="{118A8F55-D297-4C80-BA02-D16A32D66A1F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E9F5FB09-63AE-4DA5-B9A0-CE78EC717E6C}" type="sibTrans" cxnId="{118A8F55-D297-4C80-BA02-D16A32D66A1F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5F8FEBDC-8703-482B-9173-BF6FDE24DD82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Smart Card</a:t>
          </a:r>
        </a:p>
      </dgm:t>
    </dgm:pt>
    <dgm:pt modelId="{9D108473-3963-4A73-8771-D9FDCC60ADF1}" type="parTrans" cxnId="{BE2DC27D-1204-4156-A6CB-492D9B614585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ECDFC515-0576-487E-BAC3-8756EA83417B}" type="sibTrans" cxnId="{BE2DC27D-1204-4156-A6CB-492D9B614585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40DB7B86-94FA-4BB2-A0E4-D6263B0FD47F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Dongle</a:t>
          </a:r>
        </a:p>
      </dgm:t>
    </dgm:pt>
    <dgm:pt modelId="{B505F25D-7002-47DA-86CF-02DA2D5A71B4}" type="parTrans" cxnId="{E4E4AFE6-7640-41DE-9D85-8CB88902819C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8CF1A45C-9427-41C6-A37F-4AA557C53219}" type="sibTrans" cxnId="{E4E4AFE6-7640-41DE-9D85-8CB88902819C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E928476E-4BA8-40DA-B469-DC95F7AC0AC1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Biometric Scanner</a:t>
          </a:r>
        </a:p>
      </dgm:t>
    </dgm:pt>
    <dgm:pt modelId="{19E40BAD-2F70-46E2-A33C-37C2AB009751}" type="parTrans" cxnId="{2D0B6045-8CB8-4D63-B2A8-CB07ADD5384A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D85EF9EE-A633-4D0B-82AA-ECB4F350D45A}" type="sibTrans" cxnId="{2D0B6045-8CB8-4D63-B2A8-CB07ADD5384A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86F41AA4-2F13-4FA8-BBAA-DF77F9EEA2EA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Answering Machine</a:t>
          </a:r>
        </a:p>
      </dgm:t>
    </dgm:pt>
    <dgm:pt modelId="{1A311556-F34A-4794-AE3A-3DDA4F1E8C6B}" type="parTrans" cxnId="{E935CC4E-C76B-4F69-8663-6E6AA154F4FF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06F9C352-9F3C-4831-85C6-7567BF96BAC0}" type="sibTrans" cxnId="{E935CC4E-C76B-4F69-8663-6E6AA154F4FF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D18AE392-6829-47F6-BD97-E723DBEFEFDD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Digital Camera</a:t>
          </a:r>
        </a:p>
      </dgm:t>
    </dgm:pt>
    <dgm:pt modelId="{5997B450-1450-427D-A518-94247A393B0D}" type="parTrans" cxnId="{3CFEEC9C-E830-4D88-A3EB-A894DF16C03D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D0AEA7E5-C6E3-493A-AB77-A385305ADD84}" type="sibTrans" cxnId="{3CFEEC9C-E830-4D88-A3EB-A894DF16C03D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CC8C869B-8955-4318-93EE-170869101DFC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CCTV Camera</a:t>
          </a:r>
        </a:p>
      </dgm:t>
    </dgm:pt>
    <dgm:pt modelId="{B46DF782-830B-4F0B-9FFE-43C88C7CFD05}" type="parTrans" cxnId="{523037E0-D74F-42CC-8FFF-EBAF95CDBE85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5790ABC6-B4AF-43C4-9A67-E7D02E589FB2}" type="sibTrans" cxnId="{523037E0-D74F-42CC-8FFF-EBAF95CDBE85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875264BC-F5D3-4FEB-982F-FD40F7F36C93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RAM</a:t>
          </a:r>
        </a:p>
      </dgm:t>
    </dgm:pt>
    <dgm:pt modelId="{CD663502-2CAA-4705-9A9E-6A9D4965937B}" type="parTrans" cxnId="{47CCAF3C-466D-44A1-8309-7FC70C647C18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F50C948B-D6B5-4B1D-8FDA-0A8D44559C3E}" type="sibTrans" cxnId="{47CCAF3C-466D-44A1-8309-7FC70C647C18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E4EC1D93-36D3-408C-B910-6932508D2DEF}" type="pres">
      <dgm:prSet presAssocID="{0E5EF866-CE8C-42CA-9989-26D6BA8EC803}" presName="vert0" presStyleCnt="0">
        <dgm:presLayoutVars>
          <dgm:dir/>
          <dgm:animOne val="branch"/>
          <dgm:animLvl val="lvl"/>
        </dgm:presLayoutVars>
      </dgm:prSet>
      <dgm:spPr/>
    </dgm:pt>
    <dgm:pt modelId="{50613E11-1A4E-4A40-8219-532309AEF721}" type="pres">
      <dgm:prSet presAssocID="{B7762EEC-C2CD-4F62-BB31-55D0DA6EE3CA}" presName="thickLine" presStyleLbl="alignNode1" presStyleIdx="0" presStyleCnt="9"/>
      <dgm:spPr/>
    </dgm:pt>
    <dgm:pt modelId="{7549617D-F4B8-4430-A101-65C808630F0D}" type="pres">
      <dgm:prSet presAssocID="{B7762EEC-C2CD-4F62-BB31-55D0DA6EE3CA}" presName="horz1" presStyleCnt="0"/>
      <dgm:spPr/>
    </dgm:pt>
    <dgm:pt modelId="{D58C5FB9-F384-413D-8D07-5D392F831816}" type="pres">
      <dgm:prSet presAssocID="{B7762EEC-C2CD-4F62-BB31-55D0DA6EE3CA}" presName="tx1" presStyleLbl="revTx" presStyleIdx="0" presStyleCnt="9"/>
      <dgm:spPr/>
    </dgm:pt>
    <dgm:pt modelId="{5FDD8BEA-3009-4838-BD9E-12B2B49B2281}" type="pres">
      <dgm:prSet presAssocID="{B7762EEC-C2CD-4F62-BB31-55D0DA6EE3CA}" presName="vert1" presStyleCnt="0"/>
      <dgm:spPr/>
    </dgm:pt>
    <dgm:pt modelId="{40662C58-534B-4E9C-A938-D2EB538EB67A}" type="pres">
      <dgm:prSet presAssocID="{955EA649-A175-4A0B-8C09-EE6C1034AF35}" presName="thickLine" presStyleLbl="alignNode1" presStyleIdx="1" presStyleCnt="9"/>
      <dgm:spPr/>
    </dgm:pt>
    <dgm:pt modelId="{CFA6ED76-4B05-480E-BC9A-8C76B258A0EF}" type="pres">
      <dgm:prSet presAssocID="{955EA649-A175-4A0B-8C09-EE6C1034AF35}" presName="horz1" presStyleCnt="0"/>
      <dgm:spPr/>
    </dgm:pt>
    <dgm:pt modelId="{B5AFBCC6-9D7D-4E60-9A6D-C0C84D7D010F}" type="pres">
      <dgm:prSet presAssocID="{955EA649-A175-4A0B-8C09-EE6C1034AF35}" presName="tx1" presStyleLbl="revTx" presStyleIdx="1" presStyleCnt="9"/>
      <dgm:spPr/>
    </dgm:pt>
    <dgm:pt modelId="{40B29D64-71DC-44CF-A08B-6E0EE65486C8}" type="pres">
      <dgm:prSet presAssocID="{955EA649-A175-4A0B-8C09-EE6C1034AF35}" presName="vert1" presStyleCnt="0"/>
      <dgm:spPr/>
    </dgm:pt>
    <dgm:pt modelId="{668FE664-BCCA-4C9C-9547-B9E50D230B08}" type="pres">
      <dgm:prSet presAssocID="{5F8FEBDC-8703-482B-9173-BF6FDE24DD82}" presName="thickLine" presStyleLbl="alignNode1" presStyleIdx="2" presStyleCnt="9"/>
      <dgm:spPr/>
    </dgm:pt>
    <dgm:pt modelId="{8A63552D-3D56-4D6B-98AD-B91EFCC2AEA5}" type="pres">
      <dgm:prSet presAssocID="{5F8FEBDC-8703-482B-9173-BF6FDE24DD82}" presName="horz1" presStyleCnt="0"/>
      <dgm:spPr/>
    </dgm:pt>
    <dgm:pt modelId="{AB1479C5-587D-44F0-A0A2-7A50986310B6}" type="pres">
      <dgm:prSet presAssocID="{5F8FEBDC-8703-482B-9173-BF6FDE24DD82}" presName="tx1" presStyleLbl="revTx" presStyleIdx="2" presStyleCnt="9"/>
      <dgm:spPr/>
    </dgm:pt>
    <dgm:pt modelId="{20AB3D40-0FB1-4D32-970C-6A5E155F9395}" type="pres">
      <dgm:prSet presAssocID="{5F8FEBDC-8703-482B-9173-BF6FDE24DD82}" presName="vert1" presStyleCnt="0"/>
      <dgm:spPr/>
    </dgm:pt>
    <dgm:pt modelId="{E0472A9B-C5E3-47BE-B15E-170D93D7F97F}" type="pres">
      <dgm:prSet presAssocID="{40DB7B86-94FA-4BB2-A0E4-D6263B0FD47F}" presName="thickLine" presStyleLbl="alignNode1" presStyleIdx="3" presStyleCnt="9"/>
      <dgm:spPr/>
    </dgm:pt>
    <dgm:pt modelId="{E1F56427-62B2-4B5F-BF3E-B56253066330}" type="pres">
      <dgm:prSet presAssocID="{40DB7B86-94FA-4BB2-A0E4-D6263B0FD47F}" presName="horz1" presStyleCnt="0"/>
      <dgm:spPr/>
    </dgm:pt>
    <dgm:pt modelId="{99DA1E2C-6102-4EAC-A6E5-480A3E2A7122}" type="pres">
      <dgm:prSet presAssocID="{40DB7B86-94FA-4BB2-A0E4-D6263B0FD47F}" presName="tx1" presStyleLbl="revTx" presStyleIdx="3" presStyleCnt="9"/>
      <dgm:spPr/>
    </dgm:pt>
    <dgm:pt modelId="{FE565664-E73E-4253-BF5E-140DEE0FAF76}" type="pres">
      <dgm:prSet presAssocID="{40DB7B86-94FA-4BB2-A0E4-D6263B0FD47F}" presName="vert1" presStyleCnt="0"/>
      <dgm:spPr/>
    </dgm:pt>
    <dgm:pt modelId="{BF235504-AE42-421A-90B8-C154250BD188}" type="pres">
      <dgm:prSet presAssocID="{E928476E-4BA8-40DA-B469-DC95F7AC0AC1}" presName="thickLine" presStyleLbl="alignNode1" presStyleIdx="4" presStyleCnt="9"/>
      <dgm:spPr/>
    </dgm:pt>
    <dgm:pt modelId="{BC3D4CA2-7703-4A9C-837A-B4862770685F}" type="pres">
      <dgm:prSet presAssocID="{E928476E-4BA8-40DA-B469-DC95F7AC0AC1}" presName="horz1" presStyleCnt="0"/>
      <dgm:spPr/>
    </dgm:pt>
    <dgm:pt modelId="{CD2DB451-A070-4053-A82F-6F8CF2D7F81D}" type="pres">
      <dgm:prSet presAssocID="{E928476E-4BA8-40DA-B469-DC95F7AC0AC1}" presName="tx1" presStyleLbl="revTx" presStyleIdx="4" presStyleCnt="9"/>
      <dgm:spPr/>
    </dgm:pt>
    <dgm:pt modelId="{0805E9D4-0DEA-4E61-9A3C-22420D0367C6}" type="pres">
      <dgm:prSet presAssocID="{E928476E-4BA8-40DA-B469-DC95F7AC0AC1}" presName="vert1" presStyleCnt="0"/>
      <dgm:spPr/>
    </dgm:pt>
    <dgm:pt modelId="{F32757C9-777C-48DB-9912-7F203B80EA22}" type="pres">
      <dgm:prSet presAssocID="{86F41AA4-2F13-4FA8-BBAA-DF77F9EEA2EA}" presName="thickLine" presStyleLbl="alignNode1" presStyleIdx="5" presStyleCnt="9"/>
      <dgm:spPr/>
    </dgm:pt>
    <dgm:pt modelId="{7EEDFE1B-85AB-4F49-8EE3-90E19DAC7982}" type="pres">
      <dgm:prSet presAssocID="{86F41AA4-2F13-4FA8-BBAA-DF77F9EEA2EA}" presName="horz1" presStyleCnt="0"/>
      <dgm:spPr/>
    </dgm:pt>
    <dgm:pt modelId="{DC090D9F-21F5-48E4-B4E1-2FBD4D34AF2B}" type="pres">
      <dgm:prSet presAssocID="{86F41AA4-2F13-4FA8-BBAA-DF77F9EEA2EA}" presName="tx1" presStyleLbl="revTx" presStyleIdx="5" presStyleCnt="9"/>
      <dgm:spPr/>
    </dgm:pt>
    <dgm:pt modelId="{5A68D6B3-B1C0-4828-9B2F-4C3F9AF11EF1}" type="pres">
      <dgm:prSet presAssocID="{86F41AA4-2F13-4FA8-BBAA-DF77F9EEA2EA}" presName="vert1" presStyleCnt="0"/>
      <dgm:spPr/>
    </dgm:pt>
    <dgm:pt modelId="{430F8977-98D4-43B0-9C4A-79FB05016687}" type="pres">
      <dgm:prSet presAssocID="{D18AE392-6829-47F6-BD97-E723DBEFEFDD}" presName="thickLine" presStyleLbl="alignNode1" presStyleIdx="6" presStyleCnt="9"/>
      <dgm:spPr/>
    </dgm:pt>
    <dgm:pt modelId="{DE17D91D-9A1B-452E-B8FE-05C9DA0C3111}" type="pres">
      <dgm:prSet presAssocID="{D18AE392-6829-47F6-BD97-E723DBEFEFDD}" presName="horz1" presStyleCnt="0"/>
      <dgm:spPr/>
    </dgm:pt>
    <dgm:pt modelId="{9D3F5F3B-30D6-4CBB-8C1D-CE69E614344D}" type="pres">
      <dgm:prSet presAssocID="{D18AE392-6829-47F6-BD97-E723DBEFEFDD}" presName="tx1" presStyleLbl="revTx" presStyleIdx="6" presStyleCnt="9"/>
      <dgm:spPr/>
    </dgm:pt>
    <dgm:pt modelId="{0FD4745D-AF20-4755-81E2-612ED3D2B5F0}" type="pres">
      <dgm:prSet presAssocID="{D18AE392-6829-47F6-BD97-E723DBEFEFDD}" presName="vert1" presStyleCnt="0"/>
      <dgm:spPr/>
    </dgm:pt>
    <dgm:pt modelId="{93CC04C2-EA83-4359-A59B-C282A7A12FD0}" type="pres">
      <dgm:prSet presAssocID="{CC8C869B-8955-4318-93EE-170869101DFC}" presName="thickLine" presStyleLbl="alignNode1" presStyleIdx="7" presStyleCnt="9"/>
      <dgm:spPr/>
    </dgm:pt>
    <dgm:pt modelId="{74B2CD16-776F-4837-8E12-13527AC24870}" type="pres">
      <dgm:prSet presAssocID="{CC8C869B-8955-4318-93EE-170869101DFC}" presName="horz1" presStyleCnt="0"/>
      <dgm:spPr/>
    </dgm:pt>
    <dgm:pt modelId="{DD15D15E-026E-4823-8A9B-AC5A9543872D}" type="pres">
      <dgm:prSet presAssocID="{CC8C869B-8955-4318-93EE-170869101DFC}" presName="tx1" presStyleLbl="revTx" presStyleIdx="7" presStyleCnt="9"/>
      <dgm:spPr/>
    </dgm:pt>
    <dgm:pt modelId="{55878E85-DB65-42C9-9895-AE7EB7919472}" type="pres">
      <dgm:prSet presAssocID="{CC8C869B-8955-4318-93EE-170869101DFC}" presName="vert1" presStyleCnt="0"/>
      <dgm:spPr/>
    </dgm:pt>
    <dgm:pt modelId="{B7E54CA9-6DB8-4159-A63D-E5158433E125}" type="pres">
      <dgm:prSet presAssocID="{875264BC-F5D3-4FEB-982F-FD40F7F36C93}" presName="thickLine" presStyleLbl="alignNode1" presStyleIdx="8" presStyleCnt="9"/>
      <dgm:spPr/>
    </dgm:pt>
    <dgm:pt modelId="{C5DA8AA1-74B7-4ECC-9826-215948FD37EE}" type="pres">
      <dgm:prSet presAssocID="{875264BC-F5D3-4FEB-982F-FD40F7F36C93}" presName="horz1" presStyleCnt="0"/>
      <dgm:spPr/>
    </dgm:pt>
    <dgm:pt modelId="{88BA9587-1E90-4E0A-A74E-D9C5D961370F}" type="pres">
      <dgm:prSet presAssocID="{875264BC-F5D3-4FEB-982F-FD40F7F36C93}" presName="tx1" presStyleLbl="revTx" presStyleIdx="8" presStyleCnt="9"/>
      <dgm:spPr/>
    </dgm:pt>
    <dgm:pt modelId="{8631C04D-B79C-46EB-86FB-3B3853E91AAA}" type="pres">
      <dgm:prSet presAssocID="{875264BC-F5D3-4FEB-982F-FD40F7F36C93}" presName="vert1" presStyleCnt="0"/>
      <dgm:spPr/>
    </dgm:pt>
  </dgm:ptLst>
  <dgm:cxnLst>
    <dgm:cxn modelId="{3BE5EB12-89A8-4575-B42E-660F569CF26E}" type="presOf" srcId="{875264BC-F5D3-4FEB-982F-FD40F7F36C93}" destId="{88BA9587-1E90-4E0A-A74E-D9C5D961370F}" srcOrd="0" destOrd="0" presId="urn:microsoft.com/office/officeart/2008/layout/LinedList"/>
    <dgm:cxn modelId="{A0322317-A898-4ECD-BD8F-61C991A6B049}" type="presOf" srcId="{0E5EF866-CE8C-42CA-9989-26D6BA8EC803}" destId="{E4EC1D93-36D3-408C-B910-6932508D2DEF}" srcOrd="0" destOrd="0" presId="urn:microsoft.com/office/officeart/2008/layout/LinedList"/>
    <dgm:cxn modelId="{47CCAF3C-466D-44A1-8309-7FC70C647C18}" srcId="{0E5EF866-CE8C-42CA-9989-26D6BA8EC803}" destId="{875264BC-F5D3-4FEB-982F-FD40F7F36C93}" srcOrd="8" destOrd="0" parTransId="{CD663502-2CAA-4705-9A9E-6A9D4965937B}" sibTransId="{F50C948B-D6B5-4B1D-8FDA-0A8D44559C3E}"/>
    <dgm:cxn modelId="{65AAC943-8373-4EA0-9ACF-94D41DB8C1DC}" srcId="{0E5EF866-CE8C-42CA-9989-26D6BA8EC803}" destId="{B7762EEC-C2CD-4F62-BB31-55D0DA6EE3CA}" srcOrd="0" destOrd="0" parTransId="{EDA3E3AB-AFBA-42F4-91FA-5C261FA0649C}" sibTransId="{7AFF32DF-A8AE-4376-A6D1-33612E68538F}"/>
    <dgm:cxn modelId="{2D0B6045-8CB8-4D63-B2A8-CB07ADD5384A}" srcId="{0E5EF866-CE8C-42CA-9989-26D6BA8EC803}" destId="{E928476E-4BA8-40DA-B469-DC95F7AC0AC1}" srcOrd="4" destOrd="0" parTransId="{19E40BAD-2F70-46E2-A33C-37C2AB009751}" sibTransId="{D85EF9EE-A633-4D0B-82AA-ECB4F350D45A}"/>
    <dgm:cxn modelId="{E935CC4E-C76B-4F69-8663-6E6AA154F4FF}" srcId="{0E5EF866-CE8C-42CA-9989-26D6BA8EC803}" destId="{86F41AA4-2F13-4FA8-BBAA-DF77F9EEA2EA}" srcOrd="5" destOrd="0" parTransId="{1A311556-F34A-4794-AE3A-3DDA4F1E8C6B}" sibTransId="{06F9C352-9F3C-4831-85C6-7567BF96BAC0}"/>
    <dgm:cxn modelId="{DF80614F-589D-4CCC-A166-89E4721A4EC4}" type="presOf" srcId="{955EA649-A175-4A0B-8C09-EE6C1034AF35}" destId="{B5AFBCC6-9D7D-4E60-9A6D-C0C84D7D010F}" srcOrd="0" destOrd="0" presId="urn:microsoft.com/office/officeart/2008/layout/LinedList"/>
    <dgm:cxn modelId="{118A8F55-D297-4C80-BA02-D16A32D66A1F}" srcId="{0E5EF866-CE8C-42CA-9989-26D6BA8EC803}" destId="{955EA649-A175-4A0B-8C09-EE6C1034AF35}" srcOrd="1" destOrd="0" parTransId="{1E5D0251-661D-4C5B-85CC-423C3DA17E97}" sibTransId="{E9F5FB09-63AE-4DA5-B9A0-CE78EC717E6C}"/>
    <dgm:cxn modelId="{D1E2A27C-ACC8-427A-82F1-6E09954AAC20}" type="presOf" srcId="{5F8FEBDC-8703-482B-9173-BF6FDE24DD82}" destId="{AB1479C5-587D-44F0-A0A2-7A50986310B6}" srcOrd="0" destOrd="0" presId="urn:microsoft.com/office/officeart/2008/layout/LinedList"/>
    <dgm:cxn modelId="{BE2DC27D-1204-4156-A6CB-492D9B614585}" srcId="{0E5EF866-CE8C-42CA-9989-26D6BA8EC803}" destId="{5F8FEBDC-8703-482B-9173-BF6FDE24DD82}" srcOrd="2" destOrd="0" parTransId="{9D108473-3963-4A73-8771-D9FDCC60ADF1}" sibTransId="{ECDFC515-0576-487E-BAC3-8756EA83417B}"/>
    <dgm:cxn modelId="{3CFEEC9C-E830-4D88-A3EB-A894DF16C03D}" srcId="{0E5EF866-CE8C-42CA-9989-26D6BA8EC803}" destId="{D18AE392-6829-47F6-BD97-E723DBEFEFDD}" srcOrd="6" destOrd="0" parTransId="{5997B450-1450-427D-A518-94247A393B0D}" sibTransId="{D0AEA7E5-C6E3-493A-AB77-A385305ADD84}"/>
    <dgm:cxn modelId="{8109ABB0-282B-49A5-9EB4-F2AD4140885A}" type="presOf" srcId="{E928476E-4BA8-40DA-B469-DC95F7AC0AC1}" destId="{CD2DB451-A070-4053-A82F-6F8CF2D7F81D}" srcOrd="0" destOrd="0" presId="urn:microsoft.com/office/officeart/2008/layout/LinedList"/>
    <dgm:cxn modelId="{AF174BB3-3F94-4EBB-A9C7-40A99ED37418}" type="presOf" srcId="{86F41AA4-2F13-4FA8-BBAA-DF77F9EEA2EA}" destId="{DC090D9F-21F5-48E4-B4E1-2FBD4D34AF2B}" srcOrd="0" destOrd="0" presId="urn:microsoft.com/office/officeart/2008/layout/LinedList"/>
    <dgm:cxn modelId="{81875EB9-054F-48A0-9213-528DBBB21CAE}" type="presOf" srcId="{CC8C869B-8955-4318-93EE-170869101DFC}" destId="{DD15D15E-026E-4823-8A9B-AC5A9543872D}" srcOrd="0" destOrd="0" presId="urn:microsoft.com/office/officeart/2008/layout/LinedList"/>
    <dgm:cxn modelId="{224990DE-609B-4BE4-814D-1C842EB5E4A5}" type="presOf" srcId="{40DB7B86-94FA-4BB2-A0E4-D6263B0FD47F}" destId="{99DA1E2C-6102-4EAC-A6E5-480A3E2A7122}" srcOrd="0" destOrd="0" presId="urn:microsoft.com/office/officeart/2008/layout/LinedList"/>
    <dgm:cxn modelId="{523037E0-D74F-42CC-8FFF-EBAF95CDBE85}" srcId="{0E5EF866-CE8C-42CA-9989-26D6BA8EC803}" destId="{CC8C869B-8955-4318-93EE-170869101DFC}" srcOrd="7" destOrd="0" parTransId="{B46DF782-830B-4F0B-9FFE-43C88C7CFD05}" sibTransId="{5790ABC6-B4AF-43C4-9A67-E7D02E589FB2}"/>
    <dgm:cxn modelId="{F0CC62E0-71B9-491B-A428-13BBF314965A}" type="presOf" srcId="{B7762EEC-C2CD-4F62-BB31-55D0DA6EE3CA}" destId="{D58C5FB9-F384-413D-8D07-5D392F831816}" srcOrd="0" destOrd="0" presId="urn:microsoft.com/office/officeart/2008/layout/LinedList"/>
    <dgm:cxn modelId="{E4E4AFE6-7640-41DE-9D85-8CB88902819C}" srcId="{0E5EF866-CE8C-42CA-9989-26D6BA8EC803}" destId="{40DB7B86-94FA-4BB2-A0E4-D6263B0FD47F}" srcOrd="3" destOrd="0" parTransId="{B505F25D-7002-47DA-86CF-02DA2D5A71B4}" sibTransId="{8CF1A45C-9427-41C6-A37F-4AA557C53219}"/>
    <dgm:cxn modelId="{BE6D96E8-DDF1-4DF8-9863-D2B0A2E89342}" type="presOf" srcId="{D18AE392-6829-47F6-BD97-E723DBEFEFDD}" destId="{9D3F5F3B-30D6-4CBB-8C1D-CE69E614344D}" srcOrd="0" destOrd="0" presId="urn:microsoft.com/office/officeart/2008/layout/LinedList"/>
    <dgm:cxn modelId="{F942BE2F-0682-4F4B-BC03-7D30ED7593F7}" type="presParOf" srcId="{E4EC1D93-36D3-408C-B910-6932508D2DEF}" destId="{50613E11-1A4E-4A40-8219-532309AEF721}" srcOrd="0" destOrd="0" presId="urn:microsoft.com/office/officeart/2008/layout/LinedList"/>
    <dgm:cxn modelId="{B32EC34F-3F09-4606-B90D-1C50F9E72B8F}" type="presParOf" srcId="{E4EC1D93-36D3-408C-B910-6932508D2DEF}" destId="{7549617D-F4B8-4430-A101-65C808630F0D}" srcOrd="1" destOrd="0" presId="urn:microsoft.com/office/officeart/2008/layout/LinedList"/>
    <dgm:cxn modelId="{E3FFCF9F-4E64-4D2D-BFED-A77DEE506542}" type="presParOf" srcId="{7549617D-F4B8-4430-A101-65C808630F0D}" destId="{D58C5FB9-F384-413D-8D07-5D392F831816}" srcOrd="0" destOrd="0" presId="urn:microsoft.com/office/officeart/2008/layout/LinedList"/>
    <dgm:cxn modelId="{1B5ADABD-A8C8-4C90-BC15-B5AF205ED598}" type="presParOf" srcId="{7549617D-F4B8-4430-A101-65C808630F0D}" destId="{5FDD8BEA-3009-4838-BD9E-12B2B49B2281}" srcOrd="1" destOrd="0" presId="urn:microsoft.com/office/officeart/2008/layout/LinedList"/>
    <dgm:cxn modelId="{C1C3CF0C-6662-410E-93E2-BEF552C31D56}" type="presParOf" srcId="{E4EC1D93-36D3-408C-B910-6932508D2DEF}" destId="{40662C58-534B-4E9C-A938-D2EB538EB67A}" srcOrd="2" destOrd="0" presId="urn:microsoft.com/office/officeart/2008/layout/LinedList"/>
    <dgm:cxn modelId="{ACFA18C8-CDE3-49EC-A83D-0FCA894E7D61}" type="presParOf" srcId="{E4EC1D93-36D3-408C-B910-6932508D2DEF}" destId="{CFA6ED76-4B05-480E-BC9A-8C76B258A0EF}" srcOrd="3" destOrd="0" presId="urn:microsoft.com/office/officeart/2008/layout/LinedList"/>
    <dgm:cxn modelId="{877445A1-72E7-4F92-BE7C-E9C1C2313754}" type="presParOf" srcId="{CFA6ED76-4B05-480E-BC9A-8C76B258A0EF}" destId="{B5AFBCC6-9D7D-4E60-9A6D-C0C84D7D010F}" srcOrd="0" destOrd="0" presId="urn:microsoft.com/office/officeart/2008/layout/LinedList"/>
    <dgm:cxn modelId="{2C9DBCA9-DF2B-4C61-95B2-D1D8D826870D}" type="presParOf" srcId="{CFA6ED76-4B05-480E-BC9A-8C76B258A0EF}" destId="{40B29D64-71DC-44CF-A08B-6E0EE65486C8}" srcOrd="1" destOrd="0" presId="urn:microsoft.com/office/officeart/2008/layout/LinedList"/>
    <dgm:cxn modelId="{D78C5B15-14F7-4ED7-92B3-D066A83FD627}" type="presParOf" srcId="{E4EC1D93-36D3-408C-B910-6932508D2DEF}" destId="{668FE664-BCCA-4C9C-9547-B9E50D230B08}" srcOrd="4" destOrd="0" presId="urn:microsoft.com/office/officeart/2008/layout/LinedList"/>
    <dgm:cxn modelId="{4BFE1276-C8A1-42C9-8967-E8641436242C}" type="presParOf" srcId="{E4EC1D93-36D3-408C-B910-6932508D2DEF}" destId="{8A63552D-3D56-4D6B-98AD-B91EFCC2AEA5}" srcOrd="5" destOrd="0" presId="urn:microsoft.com/office/officeart/2008/layout/LinedList"/>
    <dgm:cxn modelId="{FAABDD42-D558-40DA-9947-97EF94C958D0}" type="presParOf" srcId="{8A63552D-3D56-4D6B-98AD-B91EFCC2AEA5}" destId="{AB1479C5-587D-44F0-A0A2-7A50986310B6}" srcOrd="0" destOrd="0" presId="urn:microsoft.com/office/officeart/2008/layout/LinedList"/>
    <dgm:cxn modelId="{5A52AE62-913C-4A83-9372-38E0055A83E2}" type="presParOf" srcId="{8A63552D-3D56-4D6B-98AD-B91EFCC2AEA5}" destId="{20AB3D40-0FB1-4D32-970C-6A5E155F9395}" srcOrd="1" destOrd="0" presId="urn:microsoft.com/office/officeart/2008/layout/LinedList"/>
    <dgm:cxn modelId="{D6B3BEA5-8B71-4730-A3B3-26E455963EBF}" type="presParOf" srcId="{E4EC1D93-36D3-408C-B910-6932508D2DEF}" destId="{E0472A9B-C5E3-47BE-B15E-170D93D7F97F}" srcOrd="6" destOrd="0" presId="urn:microsoft.com/office/officeart/2008/layout/LinedList"/>
    <dgm:cxn modelId="{C2BDEAC5-1546-456B-A71A-D5988311983C}" type="presParOf" srcId="{E4EC1D93-36D3-408C-B910-6932508D2DEF}" destId="{E1F56427-62B2-4B5F-BF3E-B56253066330}" srcOrd="7" destOrd="0" presId="urn:microsoft.com/office/officeart/2008/layout/LinedList"/>
    <dgm:cxn modelId="{0032EC08-F01C-4566-A315-D1B605696483}" type="presParOf" srcId="{E1F56427-62B2-4B5F-BF3E-B56253066330}" destId="{99DA1E2C-6102-4EAC-A6E5-480A3E2A7122}" srcOrd="0" destOrd="0" presId="urn:microsoft.com/office/officeart/2008/layout/LinedList"/>
    <dgm:cxn modelId="{0F07ACB3-65C7-49F5-85BC-827A5F0458C1}" type="presParOf" srcId="{E1F56427-62B2-4B5F-BF3E-B56253066330}" destId="{FE565664-E73E-4253-BF5E-140DEE0FAF76}" srcOrd="1" destOrd="0" presId="urn:microsoft.com/office/officeart/2008/layout/LinedList"/>
    <dgm:cxn modelId="{23B86914-2EC6-4D25-8DF8-30FFA7BC3991}" type="presParOf" srcId="{E4EC1D93-36D3-408C-B910-6932508D2DEF}" destId="{BF235504-AE42-421A-90B8-C154250BD188}" srcOrd="8" destOrd="0" presId="urn:microsoft.com/office/officeart/2008/layout/LinedList"/>
    <dgm:cxn modelId="{DBD50077-35AB-45EA-96F9-7924ECF62580}" type="presParOf" srcId="{E4EC1D93-36D3-408C-B910-6932508D2DEF}" destId="{BC3D4CA2-7703-4A9C-837A-B4862770685F}" srcOrd="9" destOrd="0" presId="urn:microsoft.com/office/officeart/2008/layout/LinedList"/>
    <dgm:cxn modelId="{E60A4BCF-E5DC-4C2E-B94C-3F2CB640EE5C}" type="presParOf" srcId="{BC3D4CA2-7703-4A9C-837A-B4862770685F}" destId="{CD2DB451-A070-4053-A82F-6F8CF2D7F81D}" srcOrd="0" destOrd="0" presId="urn:microsoft.com/office/officeart/2008/layout/LinedList"/>
    <dgm:cxn modelId="{121F1AFC-5789-41A3-B892-CF80C0306BD8}" type="presParOf" srcId="{BC3D4CA2-7703-4A9C-837A-B4862770685F}" destId="{0805E9D4-0DEA-4E61-9A3C-22420D0367C6}" srcOrd="1" destOrd="0" presId="urn:microsoft.com/office/officeart/2008/layout/LinedList"/>
    <dgm:cxn modelId="{5A5C64C9-FF0D-40F3-B075-AEE9E80A7E62}" type="presParOf" srcId="{E4EC1D93-36D3-408C-B910-6932508D2DEF}" destId="{F32757C9-777C-48DB-9912-7F203B80EA22}" srcOrd="10" destOrd="0" presId="urn:microsoft.com/office/officeart/2008/layout/LinedList"/>
    <dgm:cxn modelId="{5C81CE8D-476D-4006-8C24-C827018F0DF2}" type="presParOf" srcId="{E4EC1D93-36D3-408C-B910-6932508D2DEF}" destId="{7EEDFE1B-85AB-4F49-8EE3-90E19DAC7982}" srcOrd="11" destOrd="0" presId="urn:microsoft.com/office/officeart/2008/layout/LinedList"/>
    <dgm:cxn modelId="{3D85FBFE-46A0-49A4-85A6-DD3ABA889691}" type="presParOf" srcId="{7EEDFE1B-85AB-4F49-8EE3-90E19DAC7982}" destId="{DC090D9F-21F5-48E4-B4E1-2FBD4D34AF2B}" srcOrd="0" destOrd="0" presId="urn:microsoft.com/office/officeart/2008/layout/LinedList"/>
    <dgm:cxn modelId="{BE533CA3-28CA-4606-82D6-2665F50BE76A}" type="presParOf" srcId="{7EEDFE1B-85AB-4F49-8EE3-90E19DAC7982}" destId="{5A68D6B3-B1C0-4828-9B2F-4C3F9AF11EF1}" srcOrd="1" destOrd="0" presId="urn:microsoft.com/office/officeart/2008/layout/LinedList"/>
    <dgm:cxn modelId="{2BD99E8E-FDB6-43B6-9081-58004092C3DE}" type="presParOf" srcId="{E4EC1D93-36D3-408C-B910-6932508D2DEF}" destId="{430F8977-98D4-43B0-9C4A-79FB05016687}" srcOrd="12" destOrd="0" presId="urn:microsoft.com/office/officeart/2008/layout/LinedList"/>
    <dgm:cxn modelId="{79538470-1116-451F-B0CF-95AC8214FC13}" type="presParOf" srcId="{E4EC1D93-36D3-408C-B910-6932508D2DEF}" destId="{DE17D91D-9A1B-452E-B8FE-05C9DA0C3111}" srcOrd="13" destOrd="0" presId="urn:microsoft.com/office/officeart/2008/layout/LinedList"/>
    <dgm:cxn modelId="{DE2693E2-8482-4C6C-BE2F-B9733C815A00}" type="presParOf" srcId="{DE17D91D-9A1B-452E-B8FE-05C9DA0C3111}" destId="{9D3F5F3B-30D6-4CBB-8C1D-CE69E614344D}" srcOrd="0" destOrd="0" presId="urn:microsoft.com/office/officeart/2008/layout/LinedList"/>
    <dgm:cxn modelId="{DEC1CE4F-D121-452D-95D4-5DE777EDF779}" type="presParOf" srcId="{DE17D91D-9A1B-452E-B8FE-05C9DA0C3111}" destId="{0FD4745D-AF20-4755-81E2-612ED3D2B5F0}" srcOrd="1" destOrd="0" presId="urn:microsoft.com/office/officeart/2008/layout/LinedList"/>
    <dgm:cxn modelId="{B227F736-F6A3-455B-86F3-A4544EA25266}" type="presParOf" srcId="{E4EC1D93-36D3-408C-B910-6932508D2DEF}" destId="{93CC04C2-EA83-4359-A59B-C282A7A12FD0}" srcOrd="14" destOrd="0" presId="urn:microsoft.com/office/officeart/2008/layout/LinedList"/>
    <dgm:cxn modelId="{B9A91769-B5F4-48AB-9379-75F1BA644F3E}" type="presParOf" srcId="{E4EC1D93-36D3-408C-B910-6932508D2DEF}" destId="{74B2CD16-776F-4837-8E12-13527AC24870}" srcOrd="15" destOrd="0" presId="urn:microsoft.com/office/officeart/2008/layout/LinedList"/>
    <dgm:cxn modelId="{B157B1CC-A4C5-4165-8A0E-504A6E378194}" type="presParOf" srcId="{74B2CD16-776F-4837-8E12-13527AC24870}" destId="{DD15D15E-026E-4823-8A9B-AC5A9543872D}" srcOrd="0" destOrd="0" presId="urn:microsoft.com/office/officeart/2008/layout/LinedList"/>
    <dgm:cxn modelId="{B3CB1133-A9A0-4036-A078-F44849289B90}" type="presParOf" srcId="{74B2CD16-776F-4837-8E12-13527AC24870}" destId="{55878E85-DB65-42C9-9895-AE7EB7919472}" srcOrd="1" destOrd="0" presId="urn:microsoft.com/office/officeart/2008/layout/LinedList"/>
    <dgm:cxn modelId="{8E05FA10-14AA-4647-A09D-1D98C0C42DE7}" type="presParOf" srcId="{E4EC1D93-36D3-408C-B910-6932508D2DEF}" destId="{B7E54CA9-6DB8-4159-A63D-E5158433E125}" srcOrd="16" destOrd="0" presId="urn:microsoft.com/office/officeart/2008/layout/LinedList"/>
    <dgm:cxn modelId="{96F2742C-B039-443E-89A6-45EA6784B882}" type="presParOf" srcId="{E4EC1D93-36D3-408C-B910-6932508D2DEF}" destId="{C5DA8AA1-74B7-4ECC-9826-215948FD37EE}" srcOrd="17" destOrd="0" presId="urn:microsoft.com/office/officeart/2008/layout/LinedList"/>
    <dgm:cxn modelId="{11DD9C6E-CC98-4CEE-9CF5-7172A5D4F4C4}" type="presParOf" srcId="{C5DA8AA1-74B7-4ECC-9826-215948FD37EE}" destId="{88BA9587-1E90-4E0A-A74E-D9C5D961370F}" srcOrd="0" destOrd="0" presId="urn:microsoft.com/office/officeart/2008/layout/LinedList"/>
    <dgm:cxn modelId="{57815CF2-0CD1-4C40-841C-CCA1FCEAE5CE}" type="presParOf" srcId="{C5DA8AA1-74B7-4ECC-9826-215948FD37EE}" destId="{8631C04D-B79C-46EB-86FB-3B3853E91AA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E5EF866-CE8C-42CA-9989-26D6BA8EC803}" type="doc">
      <dgm:prSet loTypeId="urn:microsoft.com/office/officeart/2008/layout/Lin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B7762EEC-C2CD-4F62-BB31-55D0DA6EE3CA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Hand Held Devices</a:t>
          </a:r>
        </a:p>
      </dgm:t>
    </dgm:pt>
    <dgm:pt modelId="{EDA3E3AB-AFBA-42F4-91FA-5C261FA0649C}" type="parTrans" cxnId="{65AAC943-8373-4EA0-9ACF-94D41DB8C1DC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7AFF32DF-A8AE-4376-A6D1-33612E68538F}" type="sibTrans" cxnId="{65AAC943-8373-4EA0-9ACF-94D41DB8C1DC}">
      <dgm:prSet/>
      <dgm:spPr/>
      <dgm:t>
        <a:bodyPr/>
        <a:lstStyle/>
        <a:p>
          <a:endParaRPr lang="en-US" b="1">
            <a:solidFill>
              <a:srgbClr val="FFFF00"/>
            </a:solidFill>
          </a:endParaRPr>
        </a:p>
      </dgm:t>
    </dgm:pt>
    <dgm:pt modelId="{5528E778-8A6D-4F7D-81A7-D3EEAFF15050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LAN/NIC Card</a:t>
          </a:r>
        </a:p>
      </dgm:t>
    </dgm:pt>
    <dgm:pt modelId="{95E60DFD-C353-46EE-8079-9FC81CB1AB50}" type="parTrans" cxnId="{D7F842BE-F939-4A80-9620-2DDFBC751B76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2B3A7DD9-4778-4005-94EB-F60DAE034FD8}" type="sibTrans" cxnId="{D7F842BE-F939-4A80-9620-2DDFBC751B76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6748D9B0-6BFC-42AE-9A6D-8FDD78BED7C7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Router/Modem/Hub/Switch</a:t>
          </a:r>
        </a:p>
      </dgm:t>
    </dgm:pt>
    <dgm:pt modelId="{B42819E6-AE18-41FF-AC4A-891D3FB40BDB}" type="parTrans" cxnId="{EEC6A1B8-C4DB-48E9-BAFA-9A3CA2832C7C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7CF497AB-DDA9-4041-BB00-3862A11A4420}" type="sibTrans" cxnId="{EEC6A1B8-C4DB-48E9-BAFA-9A3CA2832C7C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787B44D4-3B21-464F-904C-1043B8B5716B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Server</a:t>
          </a:r>
        </a:p>
      </dgm:t>
    </dgm:pt>
    <dgm:pt modelId="{AC33A157-6A2C-4287-BA74-51653477686C}" type="parTrans" cxnId="{A3901968-8F8E-4FF1-BF38-030827E801FA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8956F042-DFC6-4ADD-8426-544A63F2A7C4}" type="sibTrans" cxnId="{A3901968-8F8E-4FF1-BF38-030827E801FA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E4615444-EFB7-4C02-973E-24864213C70F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Printer</a:t>
          </a:r>
        </a:p>
      </dgm:t>
    </dgm:pt>
    <dgm:pt modelId="{6ACEFF3A-6184-4585-8E2D-D86A2C6E3CF0}" type="parTrans" cxnId="{D7FB5CA7-4053-4811-A527-537A06D9E398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94F71A3F-FEF3-4B59-9DF2-03D45A476E92}" type="sibTrans" cxnId="{D7FB5CA7-4053-4811-A527-537A06D9E398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6C801ABB-6CF6-4A80-A1D1-0A125C621187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IoT Wearable</a:t>
          </a:r>
        </a:p>
      </dgm:t>
    </dgm:pt>
    <dgm:pt modelId="{5080C340-FE90-422F-A7BF-5273F5153E50}" type="parTrans" cxnId="{BB681AFC-F910-4BCD-9EB2-9ABE1CE9DEB1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D520241B-D413-424F-B870-6707199AB94E}" type="sibTrans" cxnId="{BB681AFC-F910-4BCD-9EB2-9ABE1CE9DEB1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9F15DF3A-95A2-48FD-8CDE-0943A4B5160D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GPS</a:t>
          </a:r>
        </a:p>
      </dgm:t>
    </dgm:pt>
    <dgm:pt modelId="{3705B47C-0757-44C3-8563-BA5EF233977F}" type="parTrans" cxnId="{A83EE6FB-7396-4A63-B5F2-327D392195B4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32CC8B4A-4734-4FC8-ADD9-90883D918EC7}" type="sibTrans" cxnId="{A83EE6FB-7396-4A63-B5F2-327D392195B4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20C3E671-D6A3-43A0-BCA2-7111916C9369}">
      <dgm:prSet phldrT="[Text]"/>
      <dgm:spPr/>
      <dgm:t>
        <a:bodyPr/>
        <a:lstStyle/>
        <a:p>
          <a:r>
            <a:rPr lang="en-US" b="1" dirty="0">
              <a:solidFill>
                <a:srgbClr val="FFFF00"/>
              </a:solidFill>
            </a:rPr>
            <a:t>Telephone</a:t>
          </a:r>
        </a:p>
      </dgm:t>
    </dgm:pt>
    <dgm:pt modelId="{09EB35B6-B2F4-44C0-B397-69645E058E1A}" type="parTrans" cxnId="{83860200-3FA5-4E15-B9AA-088F4A9FE321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7DB87BEC-4400-4FF0-B204-CDA18DA1AC8A}" type="sibTrans" cxnId="{83860200-3FA5-4E15-B9AA-088F4A9FE321}">
      <dgm:prSet/>
      <dgm:spPr/>
      <dgm:t>
        <a:bodyPr/>
        <a:lstStyle/>
        <a:p>
          <a:endParaRPr lang="en-US">
            <a:solidFill>
              <a:srgbClr val="FFFF00"/>
            </a:solidFill>
          </a:endParaRPr>
        </a:p>
      </dgm:t>
    </dgm:pt>
    <dgm:pt modelId="{E4EC1D93-36D3-408C-B910-6932508D2DEF}" type="pres">
      <dgm:prSet presAssocID="{0E5EF866-CE8C-42CA-9989-26D6BA8EC803}" presName="vert0" presStyleCnt="0">
        <dgm:presLayoutVars>
          <dgm:dir/>
          <dgm:animOne val="branch"/>
          <dgm:animLvl val="lvl"/>
        </dgm:presLayoutVars>
      </dgm:prSet>
      <dgm:spPr/>
    </dgm:pt>
    <dgm:pt modelId="{50613E11-1A4E-4A40-8219-532309AEF721}" type="pres">
      <dgm:prSet presAssocID="{B7762EEC-C2CD-4F62-BB31-55D0DA6EE3CA}" presName="thickLine" presStyleLbl="alignNode1" presStyleIdx="0" presStyleCnt="8"/>
      <dgm:spPr/>
    </dgm:pt>
    <dgm:pt modelId="{7549617D-F4B8-4430-A101-65C808630F0D}" type="pres">
      <dgm:prSet presAssocID="{B7762EEC-C2CD-4F62-BB31-55D0DA6EE3CA}" presName="horz1" presStyleCnt="0"/>
      <dgm:spPr/>
    </dgm:pt>
    <dgm:pt modelId="{D58C5FB9-F384-413D-8D07-5D392F831816}" type="pres">
      <dgm:prSet presAssocID="{B7762EEC-C2CD-4F62-BB31-55D0DA6EE3CA}" presName="tx1" presStyleLbl="revTx" presStyleIdx="0" presStyleCnt="8"/>
      <dgm:spPr/>
    </dgm:pt>
    <dgm:pt modelId="{5FDD8BEA-3009-4838-BD9E-12B2B49B2281}" type="pres">
      <dgm:prSet presAssocID="{B7762EEC-C2CD-4F62-BB31-55D0DA6EE3CA}" presName="vert1" presStyleCnt="0"/>
      <dgm:spPr/>
    </dgm:pt>
    <dgm:pt modelId="{839DA5D3-77C9-4A04-AB44-8EDB8581A22D}" type="pres">
      <dgm:prSet presAssocID="{5528E778-8A6D-4F7D-81A7-D3EEAFF15050}" presName="thickLine" presStyleLbl="alignNode1" presStyleIdx="1" presStyleCnt="8"/>
      <dgm:spPr/>
    </dgm:pt>
    <dgm:pt modelId="{D37BDC55-F5FF-4C7D-9225-D76F4EE22EFF}" type="pres">
      <dgm:prSet presAssocID="{5528E778-8A6D-4F7D-81A7-D3EEAFF15050}" presName="horz1" presStyleCnt="0"/>
      <dgm:spPr/>
    </dgm:pt>
    <dgm:pt modelId="{7C4C4D2E-AA40-401C-BC68-69CCB9E0E260}" type="pres">
      <dgm:prSet presAssocID="{5528E778-8A6D-4F7D-81A7-D3EEAFF15050}" presName="tx1" presStyleLbl="revTx" presStyleIdx="1" presStyleCnt="8"/>
      <dgm:spPr/>
    </dgm:pt>
    <dgm:pt modelId="{F43C5B7E-A4C3-4923-A26E-0428989142D2}" type="pres">
      <dgm:prSet presAssocID="{5528E778-8A6D-4F7D-81A7-D3EEAFF15050}" presName="vert1" presStyleCnt="0"/>
      <dgm:spPr/>
    </dgm:pt>
    <dgm:pt modelId="{3CAD6677-297A-4111-AE4E-7A74D221769B}" type="pres">
      <dgm:prSet presAssocID="{6748D9B0-6BFC-42AE-9A6D-8FDD78BED7C7}" presName="thickLine" presStyleLbl="alignNode1" presStyleIdx="2" presStyleCnt="8"/>
      <dgm:spPr/>
    </dgm:pt>
    <dgm:pt modelId="{EFAB220C-1CF1-4EC3-BB8C-BE216FE181C8}" type="pres">
      <dgm:prSet presAssocID="{6748D9B0-6BFC-42AE-9A6D-8FDD78BED7C7}" presName="horz1" presStyleCnt="0"/>
      <dgm:spPr/>
    </dgm:pt>
    <dgm:pt modelId="{64914233-10FB-431C-88B2-335E8920AA9C}" type="pres">
      <dgm:prSet presAssocID="{6748D9B0-6BFC-42AE-9A6D-8FDD78BED7C7}" presName="tx1" presStyleLbl="revTx" presStyleIdx="2" presStyleCnt="8"/>
      <dgm:spPr/>
    </dgm:pt>
    <dgm:pt modelId="{46DC866C-190E-4985-8BB2-A05ADFFFB398}" type="pres">
      <dgm:prSet presAssocID="{6748D9B0-6BFC-42AE-9A6D-8FDD78BED7C7}" presName="vert1" presStyleCnt="0"/>
      <dgm:spPr/>
    </dgm:pt>
    <dgm:pt modelId="{23E95CCC-6287-43BA-AE77-463F0FB29E0F}" type="pres">
      <dgm:prSet presAssocID="{787B44D4-3B21-464F-904C-1043B8B5716B}" presName="thickLine" presStyleLbl="alignNode1" presStyleIdx="3" presStyleCnt="8"/>
      <dgm:spPr/>
    </dgm:pt>
    <dgm:pt modelId="{188507DF-E85E-40BD-9BD9-7E688BE4B93F}" type="pres">
      <dgm:prSet presAssocID="{787B44D4-3B21-464F-904C-1043B8B5716B}" presName="horz1" presStyleCnt="0"/>
      <dgm:spPr/>
    </dgm:pt>
    <dgm:pt modelId="{3557448F-903F-4E10-8298-8B7FB8B5D9B1}" type="pres">
      <dgm:prSet presAssocID="{787B44D4-3B21-464F-904C-1043B8B5716B}" presName="tx1" presStyleLbl="revTx" presStyleIdx="3" presStyleCnt="8"/>
      <dgm:spPr/>
    </dgm:pt>
    <dgm:pt modelId="{DE86A5EC-13D4-4BF1-8F43-B7BCF151CABE}" type="pres">
      <dgm:prSet presAssocID="{787B44D4-3B21-464F-904C-1043B8B5716B}" presName="vert1" presStyleCnt="0"/>
      <dgm:spPr/>
    </dgm:pt>
    <dgm:pt modelId="{502E9251-CA31-4EB4-8C13-ED700E4018AE}" type="pres">
      <dgm:prSet presAssocID="{E4615444-EFB7-4C02-973E-24864213C70F}" presName="thickLine" presStyleLbl="alignNode1" presStyleIdx="4" presStyleCnt="8"/>
      <dgm:spPr/>
    </dgm:pt>
    <dgm:pt modelId="{11589615-E7CB-4C1D-93A1-F174815F3CBA}" type="pres">
      <dgm:prSet presAssocID="{E4615444-EFB7-4C02-973E-24864213C70F}" presName="horz1" presStyleCnt="0"/>
      <dgm:spPr/>
    </dgm:pt>
    <dgm:pt modelId="{BFC55B9F-F1DB-49AB-AA53-E2C7657E6DA0}" type="pres">
      <dgm:prSet presAssocID="{E4615444-EFB7-4C02-973E-24864213C70F}" presName="tx1" presStyleLbl="revTx" presStyleIdx="4" presStyleCnt="8"/>
      <dgm:spPr/>
    </dgm:pt>
    <dgm:pt modelId="{F340FDD3-3C0E-45E8-9710-8816116266D6}" type="pres">
      <dgm:prSet presAssocID="{E4615444-EFB7-4C02-973E-24864213C70F}" presName="vert1" presStyleCnt="0"/>
      <dgm:spPr/>
    </dgm:pt>
    <dgm:pt modelId="{F959A51D-9617-460C-AF52-B44FD8979BDF}" type="pres">
      <dgm:prSet presAssocID="{6C801ABB-6CF6-4A80-A1D1-0A125C621187}" presName="thickLine" presStyleLbl="alignNode1" presStyleIdx="5" presStyleCnt="8"/>
      <dgm:spPr/>
    </dgm:pt>
    <dgm:pt modelId="{D9FDB4EC-112E-420F-AF9E-107F06943B46}" type="pres">
      <dgm:prSet presAssocID="{6C801ABB-6CF6-4A80-A1D1-0A125C621187}" presName="horz1" presStyleCnt="0"/>
      <dgm:spPr/>
    </dgm:pt>
    <dgm:pt modelId="{C3A46BE5-7CE4-402E-B748-6E76078D495A}" type="pres">
      <dgm:prSet presAssocID="{6C801ABB-6CF6-4A80-A1D1-0A125C621187}" presName="tx1" presStyleLbl="revTx" presStyleIdx="5" presStyleCnt="8"/>
      <dgm:spPr/>
    </dgm:pt>
    <dgm:pt modelId="{CF47AC1E-3CAF-48E4-963B-6C713E8D89C9}" type="pres">
      <dgm:prSet presAssocID="{6C801ABB-6CF6-4A80-A1D1-0A125C621187}" presName="vert1" presStyleCnt="0"/>
      <dgm:spPr/>
    </dgm:pt>
    <dgm:pt modelId="{8165057E-86F2-4AAB-B5CE-1B0321E37176}" type="pres">
      <dgm:prSet presAssocID="{9F15DF3A-95A2-48FD-8CDE-0943A4B5160D}" presName="thickLine" presStyleLbl="alignNode1" presStyleIdx="6" presStyleCnt="8"/>
      <dgm:spPr/>
    </dgm:pt>
    <dgm:pt modelId="{4C535167-9D91-433F-8E3E-EA39F109F0D6}" type="pres">
      <dgm:prSet presAssocID="{9F15DF3A-95A2-48FD-8CDE-0943A4B5160D}" presName="horz1" presStyleCnt="0"/>
      <dgm:spPr/>
    </dgm:pt>
    <dgm:pt modelId="{C5AD41C6-7E9E-4070-BDFF-695C6743D77F}" type="pres">
      <dgm:prSet presAssocID="{9F15DF3A-95A2-48FD-8CDE-0943A4B5160D}" presName="tx1" presStyleLbl="revTx" presStyleIdx="6" presStyleCnt="8"/>
      <dgm:spPr/>
    </dgm:pt>
    <dgm:pt modelId="{95C0BB0C-5C88-44F6-B332-10750FD64C7D}" type="pres">
      <dgm:prSet presAssocID="{9F15DF3A-95A2-48FD-8CDE-0943A4B5160D}" presName="vert1" presStyleCnt="0"/>
      <dgm:spPr/>
    </dgm:pt>
    <dgm:pt modelId="{CE7CFFAD-DBB8-47A2-B3D7-64993A2EBFD4}" type="pres">
      <dgm:prSet presAssocID="{20C3E671-D6A3-43A0-BCA2-7111916C9369}" presName="thickLine" presStyleLbl="alignNode1" presStyleIdx="7" presStyleCnt="8"/>
      <dgm:spPr/>
    </dgm:pt>
    <dgm:pt modelId="{D2BE402D-DDAD-4F2E-A759-D42C8EF2224E}" type="pres">
      <dgm:prSet presAssocID="{20C3E671-D6A3-43A0-BCA2-7111916C9369}" presName="horz1" presStyleCnt="0"/>
      <dgm:spPr/>
    </dgm:pt>
    <dgm:pt modelId="{0F719BAF-3EA1-463B-AE54-B8FDF0D5DAF3}" type="pres">
      <dgm:prSet presAssocID="{20C3E671-D6A3-43A0-BCA2-7111916C9369}" presName="tx1" presStyleLbl="revTx" presStyleIdx="7" presStyleCnt="8"/>
      <dgm:spPr/>
    </dgm:pt>
    <dgm:pt modelId="{2D54B85A-F7DE-477F-B201-CFDC475089D1}" type="pres">
      <dgm:prSet presAssocID="{20C3E671-D6A3-43A0-BCA2-7111916C9369}" presName="vert1" presStyleCnt="0"/>
      <dgm:spPr/>
    </dgm:pt>
  </dgm:ptLst>
  <dgm:cxnLst>
    <dgm:cxn modelId="{83860200-3FA5-4E15-B9AA-088F4A9FE321}" srcId="{0E5EF866-CE8C-42CA-9989-26D6BA8EC803}" destId="{20C3E671-D6A3-43A0-BCA2-7111916C9369}" srcOrd="7" destOrd="0" parTransId="{09EB35B6-B2F4-44C0-B397-69645E058E1A}" sibTransId="{7DB87BEC-4400-4FF0-B204-CDA18DA1AC8A}"/>
    <dgm:cxn modelId="{A0322317-A898-4ECD-BD8F-61C991A6B049}" type="presOf" srcId="{0E5EF866-CE8C-42CA-9989-26D6BA8EC803}" destId="{E4EC1D93-36D3-408C-B910-6932508D2DEF}" srcOrd="0" destOrd="0" presId="urn:microsoft.com/office/officeart/2008/layout/LinedList"/>
    <dgm:cxn modelId="{3B7D6C5B-0A60-4CEB-B85D-1FCE0D500BE7}" type="presOf" srcId="{E4615444-EFB7-4C02-973E-24864213C70F}" destId="{BFC55B9F-F1DB-49AB-AA53-E2C7657E6DA0}" srcOrd="0" destOrd="0" presId="urn:microsoft.com/office/officeart/2008/layout/LinedList"/>
    <dgm:cxn modelId="{65AAC943-8373-4EA0-9ACF-94D41DB8C1DC}" srcId="{0E5EF866-CE8C-42CA-9989-26D6BA8EC803}" destId="{B7762EEC-C2CD-4F62-BB31-55D0DA6EE3CA}" srcOrd="0" destOrd="0" parTransId="{EDA3E3AB-AFBA-42F4-91FA-5C261FA0649C}" sibTransId="{7AFF32DF-A8AE-4376-A6D1-33612E68538F}"/>
    <dgm:cxn modelId="{A3901968-8F8E-4FF1-BF38-030827E801FA}" srcId="{0E5EF866-CE8C-42CA-9989-26D6BA8EC803}" destId="{787B44D4-3B21-464F-904C-1043B8B5716B}" srcOrd="3" destOrd="0" parTransId="{AC33A157-6A2C-4287-BA74-51653477686C}" sibTransId="{8956F042-DFC6-4ADD-8426-544A63F2A7C4}"/>
    <dgm:cxn modelId="{6D99CE4E-2806-4CE6-8AC4-4E4ADB5D88A0}" type="presOf" srcId="{9F15DF3A-95A2-48FD-8CDE-0943A4B5160D}" destId="{C5AD41C6-7E9E-4070-BDFF-695C6743D77F}" srcOrd="0" destOrd="0" presId="urn:microsoft.com/office/officeart/2008/layout/LinedList"/>
    <dgm:cxn modelId="{AA9D7755-80DC-44F1-B295-9C045A3CF7CF}" type="presOf" srcId="{6C801ABB-6CF6-4A80-A1D1-0A125C621187}" destId="{C3A46BE5-7CE4-402E-B748-6E76078D495A}" srcOrd="0" destOrd="0" presId="urn:microsoft.com/office/officeart/2008/layout/LinedList"/>
    <dgm:cxn modelId="{C897A595-F7A1-4F21-9835-E9B73B49A30F}" type="presOf" srcId="{5528E778-8A6D-4F7D-81A7-D3EEAFF15050}" destId="{7C4C4D2E-AA40-401C-BC68-69CCB9E0E260}" srcOrd="0" destOrd="0" presId="urn:microsoft.com/office/officeart/2008/layout/LinedList"/>
    <dgm:cxn modelId="{D7FB5CA7-4053-4811-A527-537A06D9E398}" srcId="{0E5EF866-CE8C-42CA-9989-26D6BA8EC803}" destId="{E4615444-EFB7-4C02-973E-24864213C70F}" srcOrd="4" destOrd="0" parTransId="{6ACEFF3A-6184-4585-8E2D-D86A2C6E3CF0}" sibTransId="{94F71A3F-FEF3-4B59-9DF2-03D45A476E92}"/>
    <dgm:cxn modelId="{37543EB6-DA68-4F4D-9F1A-23EC5052D9D2}" type="presOf" srcId="{787B44D4-3B21-464F-904C-1043B8B5716B}" destId="{3557448F-903F-4E10-8298-8B7FB8B5D9B1}" srcOrd="0" destOrd="0" presId="urn:microsoft.com/office/officeart/2008/layout/LinedList"/>
    <dgm:cxn modelId="{EEC6A1B8-C4DB-48E9-BAFA-9A3CA2832C7C}" srcId="{0E5EF866-CE8C-42CA-9989-26D6BA8EC803}" destId="{6748D9B0-6BFC-42AE-9A6D-8FDD78BED7C7}" srcOrd="2" destOrd="0" parTransId="{B42819E6-AE18-41FF-AC4A-891D3FB40BDB}" sibTransId="{7CF497AB-DDA9-4041-BB00-3862A11A4420}"/>
    <dgm:cxn modelId="{D7F842BE-F939-4A80-9620-2DDFBC751B76}" srcId="{0E5EF866-CE8C-42CA-9989-26D6BA8EC803}" destId="{5528E778-8A6D-4F7D-81A7-D3EEAFF15050}" srcOrd="1" destOrd="0" parTransId="{95E60DFD-C353-46EE-8079-9FC81CB1AB50}" sibTransId="{2B3A7DD9-4778-4005-94EB-F60DAE034FD8}"/>
    <dgm:cxn modelId="{DEAD77C0-9DAD-4DF7-8A27-854B6444D723}" type="presOf" srcId="{6748D9B0-6BFC-42AE-9A6D-8FDD78BED7C7}" destId="{64914233-10FB-431C-88B2-335E8920AA9C}" srcOrd="0" destOrd="0" presId="urn:microsoft.com/office/officeart/2008/layout/LinedList"/>
    <dgm:cxn modelId="{56359FC3-FE4D-4F6F-8A67-BCBBCCFC40EC}" type="presOf" srcId="{20C3E671-D6A3-43A0-BCA2-7111916C9369}" destId="{0F719BAF-3EA1-463B-AE54-B8FDF0D5DAF3}" srcOrd="0" destOrd="0" presId="urn:microsoft.com/office/officeart/2008/layout/LinedList"/>
    <dgm:cxn modelId="{F0CC62E0-71B9-491B-A428-13BBF314965A}" type="presOf" srcId="{B7762EEC-C2CD-4F62-BB31-55D0DA6EE3CA}" destId="{D58C5FB9-F384-413D-8D07-5D392F831816}" srcOrd="0" destOrd="0" presId="urn:microsoft.com/office/officeart/2008/layout/LinedList"/>
    <dgm:cxn modelId="{A83EE6FB-7396-4A63-B5F2-327D392195B4}" srcId="{0E5EF866-CE8C-42CA-9989-26D6BA8EC803}" destId="{9F15DF3A-95A2-48FD-8CDE-0943A4B5160D}" srcOrd="6" destOrd="0" parTransId="{3705B47C-0757-44C3-8563-BA5EF233977F}" sibTransId="{32CC8B4A-4734-4FC8-ADD9-90883D918EC7}"/>
    <dgm:cxn modelId="{BB681AFC-F910-4BCD-9EB2-9ABE1CE9DEB1}" srcId="{0E5EF866-CE8C-42CA-9989-26D6BA8EC803}" destId="{6C801ABB-6CF6-4A80-A1D1-0A125C621187}" srcOrd="5" destOrd="0" parTransId="{5080C340-FE90-422F-A7BF-5273F5153E50}" sibTransId="{D520241B-D413-424F-B870-6707199AB94E}"/>
    <dgm:cxn modelId="{F942BE2F-0682-4F4B-BC03-7D30ED7593F7}" type="presParOf" srcId="{E4EC1D93-36D3-408C-B910-6932508D2DEF}" destId="{50613E11-1A4E-4A40-8219-532309AEF721}" srcOrd="0" destOrd="0" presId="urn:microsoft.com/office/officeart/2008/layout/LinedList"/>
    <dgm:cxn modelId="{B32EC34F-3F09-4606-B90D-1C50F9E72B8F}" type="presParOf" srcId="{E4EC1D93-36D3-408C-B910-6932508D2DEF}" destId="{7549617D-F4B8-4430-A101-65C808630F0D}" srcOrd="1" destOrd="0" presId="urn:microsoft.com/office/officeart/2008/layout/LinedList"/>
    <dgm:cxn modelId="{E3FFCF9F-4E64-4D2D-BFED-A77DEE506542}" type="presParOf" srcId="{7549617D-F4B8-4430-A101-65C808630F0D}" destId="{D58C5FB9-F384-413D-8D07-5D392F831816}" srcOrd="0" destOrd="0" presId="urn:microsoft.com/office/officeart/2008/layout/LinedList"/>
    <dgm:cxn modelId="{1B5ADABD-A8C8-4C90-BC15-B5AF205ED598}" type="presParOf" srcId="{7549617D-F4B8-4430-A101-65C808630F0D}" destId="{5FDD8BEA-3009-4838-BD9E-12B2B49B2281}" srcOrd="1" destOrd="0" presId="urn:microsoft.com/office/officeart/2008/layout/LinedList"/>
    <dgm:cxn modelId="{41E99374-3728-49E0-B688-FE65E9C21637}" type="presParOf" srcId="{E4EC1D93-36D3-408C-B910-6932508D2DEF}" destId="{839DA5D3-77C9-4A04-AB44-8EDB8581A22D}" srcOrd="2" destOrd="0" presId="urn:microsoft.com/office/officeart/2008/layout/LinedList"/>
    <dgm:cxn modelId="{E29BBD46-6903-4523-9898-B8EF06643E7D}" type="presParOf" srcId="{E4EC1D93-36D3-408C-B910-6932508D2DEF}" destId="{D37BDC55-F5FF-4C7D-9225-D76F4EE22EFF}" srcOrd="3" destOrd="0" presId="urn:microsoft.com/office/officeart/2008/layout/LinedList"/>
    <dgm:cxn modelId="{15E7EE0E-5968-4511-989B-654480605F81}" type="presParOf" srcId="{D37BDC55-F5FF-4C7D-9225-D76F4EE22EFF}" destId="{7C4C4D2E-AA40-401C-BC68-69CCB9E0E260}" srcOrd="0" destOrd="0" presId="urn:microsoft.com/office/officeart/2008/layout/LinedList"/>
    <dgm:cxn modelId="{FB0A22E2-68EF-43EB-9A01-0DEA9B41ECF0}" type="presParOf" srcId="{D37BDC55-F5FF-4C7D-9225-D76F4EE22EFF}" destId="{F43C5B7E-A4C3-4923-A26E-0428989142D2}" srcOrd="1" destOrd="0" presId="urn:microsoft.com/office/officeart/2008/layout/LinedList"/>
    <dgm:cxn modelId="{CEC735F6-FB3E-4F85-BB88-C7F36BB50195}" type="presParOf" srcId="{E4EC1D93-36D3-408C-B910-6932508D2DEF}" destId="{3CAD6677-297A-4111-AE4E-7A74D221769B}" srcOrd="4" destOrd="0" presId="urn:microsoft.com/office/officeart/2008/layout/LinedList"/>
    <dgm:cxn modelId="{E3449423-6C8F-4CED-8F5C-0D2BEBA5B69C}" type="presParOf" srcId="{E4EC1D93-36D3-408C-B910-6932508D2DEF}" destId="{EFAB220C-1CF1-4EC3-BB8C-BE216FE181C8}" srcOrd="5" destOrd="0" presId="urn:microsoft.com/office/officeart/2008/layout/LinedList"/>
    <dgm:cxn modelId="{87433406-E4DC-470A-953B-D8543ACD6AA2}" type="presParOf" srcId="{EFAB220C-1CF1-4EC3-BB8C-BE216FE181C8}" destId="{64914233-10FB-431C-88B2-335E8920AA9C}" srcOrd="0" destOrd="0" presId="urn:microsoft.com/office/officeart/2008/layout/LinedList"/>
    <dgm:cxn modelId="{8F7FF9FA-58E5-48A0-83F9-DFCF811C375D}" type="presParOf" srcId="{EFAB220C-1CF1-4EC3-BB8C-BE216FE181C8}" destId="{46DC866C-190E-4985-8BB2-A05ADFFFB398}" srcOrd="1" destOrd="0" presId="urn:microsoft.com/office/officeart/2008/layout/LinedList"/>
    <dgm:cxn modelId="{24C9C5BE-C48F-4875-A30E-95BA8C281FA6}" type="presParOf" srcId="{E4EC1D93-36D3-408C-B910-6932508D2DEF}" destId="{23E95CCC-6287-43BA-AE77-463F0FB29E0F}" srcOrd="6" destOrd="0" presId="urn:microsoft.com/office/officeart/2008/layout/LinedList"/>
    <dgm:cxn modelId="{ABD134DB-27ED-48B2-9A37-DE2D58B11ACC}" type="presParOf" srcId="{E4EC1D93-36D3-408C-B910-6932508D2DEF}" destId="{188507DF-E85E-40BD-9BD9-7E688BE4B93F}" srcOrd="7" destOrd="0" presId="urn:microsoft.com/office/officeart/2008/layout/LinedList"/>
    <dgm:cxn modelId="{4A3173AE-6846-4226-8686-712BCE740E5F}" type="presParOf" srcId="{188507DF-E85E-40BD-9BD9-7E688BE4B93F}" destId="{3557448F-903F-4E10-8298-8B7FB8B5D9B1}" srcOrd="0" destOrd="0" presId="urn:microsoft.com/office/officeart/2008/layout/LinedList"/>
    <dgm:cxn modelId="{2F9180B0-6D2E-4311-A065-5AF2240AE44F}" type="presParOf" srcId="{188507DF-E85E-40BD-9BD9-7E688BE4B93F}" destId="{DE86A5EC-13D4-4BF1-8F43-B7BCF151CABE}" srcOrd="1" destOrd="0" presId="urn:microsoft.com/office/officeart/2008/layout/LinedList"/>
    <dgm:cxn modelId="{7DDDC25E-8341-47DF-82AB-340A8370A7CA}" type="presParOf" srcId="{E4EC1D93-36D3-408C-B910-6932508D2DEF}" destId="{502E9251-CA31-4EB4-8C13-ED700E4018AE}" srcOrd="8" destOrd="0" presId="urn:microsoft.com/office/officeart/2008/layout/LinedList"/>
    <dgm:cxn modelId="{701F892B-FA79-45E2-BFF9-DA5A8B1D9E47}" type="presParOf" srcId="{E4EC1D93-36D3-408C-B910-6932508D2DEF}" destId="{11589615-E7CB-4C1D-93A1-F174815F3CBA}" srcOrd="9" destOrd="0" presId="urn:microsoft.com/office/officeart/2008/layout/LinedList"/>
    <dgm:cxn modelId="{BF3702EE-8EEE-4BD2-B802-44C5AFFA88C2}" type="presParOf" srcId="{11589615-E7CB-4C1D-93A1-F174815F3CBA}" destId="{BFC55B9F-F1DB-49AB-AA53-E2C7657E6DA0}" srcOrd="0" destOrd="0" presId="urn:microsoft.com/office/officeart/2008/layout/LinedList"/>
    <dgm:cxn modelId="{BF4A9B58-AC95-485E-BF6C-B2DEED81ED35}" type="presParOf" srcId="{11589615-E7CB-4C1D-93A1-F174815F3CBA}" destId="{F340FDD3-3C0E-45E8-9710-8816116266D6}" srcOrd="1" destOrd="0" presId="urn:microsoft.com/office/officeart/2008/layout/LinedList"/>
    <dgm:cxn modelId="{07A07521-91EF-467C-902C-F3E2F48055D8}" type="presParOf" srcId="{E4EC1D93-36D3-408C-B910-6932508D2DEF}" destId="{F959A51D-9617-460C-AF52-B44FD8979BDF}" srcOrd="10" destOrd="0" presId="urn:microsoft.com/office/officeart/2008/layout/LinedList"/>
    <dgm:cxn modelId="{F1DA85EB-E6D9-4DC1-AA02-75BD75C593B7}" type="presParOf" srcId="{E4EC1D93-36D3-408C-B910-6932508D2DEF}" destId="{D9FDB4EC-112E-420F-AF9E-107F06943B46}" srcOrd="11" destOrd="0" presId="urn:microsoft.com/office/officeart/2008/layout/LinedList"/>
    <dgm:cxn modelId="{ACEA3864-093C-4DF0-980B-5E9E7D37B1E1}" type="presParOf" srcId="{D9FDB4EC-112E-420F-AF9E-107F06943B46}" destId="{C3A46BE5-7CE4-402E-B748-6E76078D495A}" srcOrd="0" destOrd="0" presId="urn:microsoft.com/office/officeart/2008/layout/LinedList"/>
    <dgm:cxn modelId="{65FF0636-F7B4-4F1D-A56E-FF4FADED686C}" type="presParOf" srcId="{D9FDB4EC-112E-420F-AF9E-107F06943B46}" destId="{CF47AC1E-3CAF-48E4-963B-6C713E8D89C9}" srcOrd="1" destOrd="0" presId="urn:microsoft.com/office/officeart/2008/layout/LinedList"/>
    <dgm:cxn modelId="{61C3D8AF-15A6-4002-9C0A-98A02A298809}" type="presParOf" srcId="{E4EC1D93-36D3-408C-B910-6932508D2DEF}" destId="{8165057E-86F2-4AAB-B5CE-1B0321E37176}" srcOrd="12" destOrd="0" presId="urn:microsoft.com/office/officeart/2008/layout/LinedList"/>
    <dgm:cxn modelId="{8B8562CC-F186-4918-9003-C73DB6B1970B}" type="presParOf" srcId="{E4EC1D93-36D3-408C-B910-6932508D2DEF}" destId="{4C535167-9D91-433F-8E3E-EA39F109F0D6}" srcOrd="13" destOrd="0" presId="urn:microsoft.com/office/officeart/2008/layout/LinedList"/>
    <dgm:cxn modelId="{AB66979C-BEA1-4407-A42D-904408F25A60}" type="presParOf" srcId="{4C535167-9D91-433F-8E3E-EA39F109F0D6}" destId="{C5AD41C6-7E9E-4070-BDFF-695C6743D77F}" srcOrd="0" destOrd="0" presId="urn:microsoft.com/office/officeart/2008/layout/LinedList"/>
    <dgm:cxn modelId="{A85CF2CF-C681-4C6D-B8BC-BF0EA480F779}" type="presParOf" srcId="{4C535167-9D91-433F-8E3E-EA39F109F0D6}" destId="{95C0BB0C-5C88-44F6-B332-10750FD64C7D}" srcOrd="1" destOrd="0" presId="urn:microsoft.com/office/officeart/2008/layout/LinedList"/>
    <dgm:cxn modelId="{E140BEBB-FC18-4BDF-83BA-BB999638DB3B}" type="presParOf" srcId="{E4EC1D93-36D3-408C-B910-6932508D2DEF}" destId="{CE7CFFAD-DBB8-47A2-B3D7-64993A2EBFD4}" srcOrd="14" destOrd="0" presId="urn:microsoft.com/office/officeart/2008/layout/LinedList"/>
    <dgm:cxn modelId="{883DE0C2-7EF7-4F94-8715-0D2FB2427CC4}" type="presParOf" srcId="{E4EC1D93-36D3-408C-B910-6932508D2DEF}" destId="{D2BE402D-DDAD-4F2E-A759-D42C8EF2224E}" srcOrd="15" destOrd="0" presId="urn:microsoft.com/office/officeart/2008/layout/LinedList"/>
    <dgm:cxn modelId="{FACFBD02-8D41-448F-A697-AF49CCE975A9}" type="presParOf" srcId="{D2BE402D-DDAD-4F2E-A759-D42C8EF2224E}" destId="{0F719BAF-3EA1-463B-AE54-B8FDF0D5DAF3}" srcOrd="0" destOrd="0" presId="urn:microsoft.com/office/officeart/2008/layout/LinedList"/>
    <dgm:cxn modelId="{400A5C91-E690-4722-94BA-584DC0FEF448}" type="presParOf" srcId="{D2BE402D-DDAD-4F2E-A759-D42C8EF2224E}" destId="{2D54B85A-F7DE-477F-B201-CFDC475089D1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E5EF866-CE8C-42CA-9989-26D6BA8EC803}" type="doc">
      <dgm:prSet loTypeId="urn:microsoft.com/office/officeart/2008/layout/Lin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B7762EEC-C2CD-4F62-BB31-55D0DA6EE3CA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Credit Card Skimmers</a:t>
          </a:r>
        </a:p>
      </dgm:t>
    </dgm:pt>
    <dgm:pt modelId="{7AFF32DF-A8AE-4376-A6D1-33612E68538F}" type="sibTrans" cxnId="{65AAC943-8373-4EA0-9ACF-94D41DB8C1DC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EDA3E3AB-AFBA-42F4-91FA-5C261FA0649C}" type="parTrans" cxnId="{65AAC943-8373-4EA0-9ACF-94D41DB8C1DC}">
      <dgm:prSet/>
      <dgm:spPr/>
      <dgm:t>
        <a:bodyPr/>
        <a:lstStyle/>
        <a:p>
          <a:endParaRPr lang="en-US" b="1">
            <a:solidFill>
              <a:srgbClr val="FF0000"/>
            </a:solidFill>
          </a:endParaRPr>
        </a:p>
      </dgm:t>
    </dgm:pt>
    <dgm:pt modelId="{E513F211-26BE-406A-BE33-41B621136078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Digital Watches</a:t>
          </a:r>
        </a:p>
      </dgm:t>
    </dgm:pt>
    <dgm:pt modelId="{20EB422D-911D-4F09-A85D-6B74F018180C}" type="parTrans" cxnId="{64FCA9A2-9F48-4900-8050-882F4AEAB278}">
      <dgm:prSet/>
      <dgm:spPr/>
      <dgm:t>
        <a:bodyPr/>
        <a:lstStyle/>
        <a:p>
          <a:endParaRPr lang="en-US"/>
        </a:p>
      </dgm:t>
    </dgm:pt>
    <dgm:pt modelId="{35DC51AE-BECC-4AD7-B451-183E85766DD4}" type="sibTrans" cxnId="{64FCA9A2-9F48-4900-8050-882F4AEAB278}">
      <dgm:prSet/>
      <dgm:spPr/>
      <dgm:t>
        <a:bodyPr/>
        <a:lstStyle/>
        <a:p>
          <a:endParaRPr lang="en-US"/>
        </a:p>
      </dgm:t>
    </dgm:pt>
    <dgm:pt modelId="{045B875B-9A41-4A6F-8D0A-AB6098EEF00E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VoIP (SKYPE, Teams, Zoom)</a:t>
          </a:r>
        </a:p>
      </dgm:t>
    </dgm:pt>
    <dgm:pt modelId="{02900E14-2EB9-415B-B91C-C4AAABF94874}" type="parTrans" cxnId="{D066D420-360D-4C13-B4B0-74878B1876C1}">
      <dgm:prSet/>
      <dgm:spPr/>
      <dgm:t>
        <a:bodyPr/>
        <a:lstStyle/>
        <a:p>
          <a:endParaRPr lang="en-US"/>
        </a:p>
      </dgm:t>
    </dgm:pt>
    <dgm:pt modelId="{282DCD1E-85DA-4C6A-B959-CF86201A5C59}" type="sibTrans" cxnId="{D066D420-360D-4C13-B4B0-74878B1876C1}">
      <dgm:prSet/>
      <dgm:spPr/>
      <dgm:t>
        <a:bodyPr/>
        <a:lstStyle/>
        <a:p>
          <a:endParaRPr lang="en-US"/>
        </a:p>
      </dgm:t>
    </dgm:pt>
    <dgm:pt modelId="{F6C32D26-6F71-4724-8939-2064A40BA2A6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Databases</a:t>
          </a:r>
        </a:p>
      </dgm:t>
    </dgm:pt>
    <dgm:pt modelId="{62D7E83A-D550-4438-94BE-95409725C17F}" type="parTrans" cxnId="{9271BC05-A975-4D83-9A1A-F0FD89BA8ECD}">
      <dgm:prSet/>
      <dgm:spPr/>
      <dgm:t>
        <a:bodyPr/>
        <a:lstStyle/>
        <a:p>
          <a:endParaRPr lang="en-US"/>
        </a:p>
      </dgm:t>
    </dgm:pt>
    <dgm:pt modelId="{CC5DB653-82C3-4775-B400-7911ABA6C104}" type="sibTrans" cxnId="{9271BC05-A975-4D83-9A1A-F0FD89BA8ECD}">
      <dgm:prSet/>
      <dgm:spPr/>
      <dgm:t>
        <a:bodyPr/>
        <a:lstStyle/>
        <a:p>
          <a:endParaRPr lang="en-US"/>
        </a:p>
      </dgm:t>
    </dgm:pt>
    <dgm:pt modelId="{F8DEEC41-2412-4A4A-8FC1-28EFA589511F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Web Based Platform (Forms, E-Commerce)</a:t>
          </a:r>
        </a:p>
      </dgm:t>
    </dgm:pt>
    <dgm:pt modelId="{3B223657-FD6B-47C5-8855-C3BBA2609D2F}" type="parTrans" cxnId="{BB4A8471-A068-4E52-97BB-34BAB2559E8D}">
      <dgm:prSet/>
      <dgm:spPr/>
      <dgm:t>
        <a:bodyPr/>
        <a:lstStyle/>
        <a:p>
          <a:endParaRPr lang="en-US"/>
        </a:p>
      </dgm:t>
    </dgm:pt>
    <dgm:pt modelId="{4E7640CE-7AFF-4A67-A684-85125CA20A4E}" type="sibTrans" cxnId="{BB4A8471-A068-4E52-97BB-34BAB2559E8D}">
      <dgm:prSet/>
      <dgm:spPr/>
      <dgm:t>
        <a:bodyPr/>
        <a:lstStyle/>
        <a:p>
          <a:endParaRPr lang="en-US"/>
        </a:p>
      </dgm:t>
    </dgm:pt>
    <dgm:pt modelId="{6B430A3D-B8E8-4E7C-B207-2CCDF98AFC98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ATM</a:t>
          </a:r>
        </a:p>
      </dgm:t>
    </dgm:pt>
    <dgm:pt modelId="{B9797924-E5BE-42FA-AFBE-3F009E7A3672}" type="parTrans" cxnId="{534B440B-40FA-4E39-A68E-027F755FB189}">
      <dgm:prSet/>
      <dgm:spPr/>
      <dgm:t>
        <a:bodyPr/>
        <a:lstStyle/>
        <a:p>
          <a:endParaRPr lang="en-US"/>
        </a:p>
      </dgm:t>
    </dgm:pt>
    <dgm:pt modelId="{C378D739-4375-4549-BED8-D13372D6A516}" type="sibTrans" cxnId="{534B440B-40FA-4E39-A68E-027F755FB189}">
      <dgm:prSet/>
      <dgm:spPr/>
      <dgm:t>
        <a:bodyPr/>
        <a:lstStyle/>
        <a:p>
          <a:endParaRPr lang="en-US"/>
        </a:p>
      </dgm:t>
    </dgm:pt>
    <dgm:pt modelId="{8BEADDD2-8CBD-4F8B-8859-7336D06633F0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POS</a:t>
          </a:r>
        </a:p>
      </dgm:t>
    </dgm:pt>
    <dgm:pt modelId="{8320F281-92B1-4836-9F95-3354EDFF57E2}" type="parTrans" cxnId="{ABA2088C-31EA-4114-A3B8-753607123E75}">
      <dgm:prSet/>
      <dgm:spPr/>
      <dgm:t>
        <a:bodyPr/>
        <a:lstStyle/>
        <a:p>
          <a:endParaRPr lang="en-US"/>
        </a:p>
      </dgm:t>
    </dgm:pt>
    <dgm:pt modelId="{F7913FF0-4DCA-4320-9B32-542FC668E256}" type="sibTrans" cxnId="{ABA2088C-31EA-4114-A3B8-753607123E75}">
      <dgm:prSet/>
      <dgm:spPr/>
      <dgm:t>
        <a:bodyPr/>
        <a:lstStyle/>
        <a:p>
          <a:endParaRPr lang="en-US"/>
        </a:p>
      </dgm:t>
    </dgm:pt>
    <dgm:pt modelId="{93DFC436-6F82-4702-A92D-E9472C203ADA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Virtual Machines</a:t>
          </a:r>
        </a:p>
      </dgm:t>
    </dgm:pt>
    <dgm:pt modelId="{D100EF5D-F314-4ACF-BC21-CEDF8100E4E0}" type="parTrans" cxnId="{9276EB45-314A-47C1-AC5A-4AEC45B6FA9A}">
      <dgm:prSet/>
      <dgm:spPr/>
      <dgm:t>
        <a:bodyPr/>
        <a:lstStyle/>
        <a:p>
          <a:endParaRPr lang="en-US"/>
        </a:p>
      </dgm:t>
    </dgm:pt>
    <dgm:pt modelId="{E6CFA26D-D54E-4811-9FE4-2AD4686E2D5F}" type="sibTrans" cxnId="{9276EB45-314A-47C1-AC5A-4AEC45B6FA9A}">
      <dgm:prSet/>
      <dgm:spPr/>
      <dgm:t>
        <a:bodyPr/>
        <a:lstStyle/>
        <a:p>
          <a:endParaRPr lang="en-US"/>
        </a:p>
      </dgm:t>
    </dgm:pt>
    <dgm:pt modelId="{3DD9BA53-B8E7-4F70-B3B1-36047A3F32B3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Blockchain</a:t>
          </a:r>
        </a:p>
      </dgm:t>
    </dgm:pt>
    <dgm:pt modelId="{8E966C1E-4F93-4390-A361-95D6DE719BD1}" type="parTrans" cxnId="{9F7AE181-62E7-4F2D-8F9F-2BFC0C15EBAE}">
      <dgm:prSet/>
      <dgm:spPr/>
      <dgm:t>
        <a:bodyPr/>
        <a:lstStyle/>
        <a:p>
          <a:endParaRPr lang="en-US"/>
        </a:p>
      </dgm:t>
    </dgm:pt>
    <dgm:pt modelId="{694AE231-BD01-4111-9DE4-65BAB2CDEF12}" type="sibTrans" cxnId="{9F7AE181-62E7-4F2D-8F9F-2BFC0C15EBAE}">
      <dgm:prSet/>
      <dgm:spPr/>
      <dgm:t>
        <a:bodyPr/>
        <a:lstStyle/>
        <a:p>
          <a:endParaRPr lang="en-US"/>
        </a:p>
      </dgm:t>
    </dgm:pt>
    <dgm:pt modelId="{8637AF3E-BB63-449C-A886-2F5EC2BCF33F}">
      <dgm:prSet phldrT="[Text]"/>
      <dgm:spPr/>
      <dgm:t>
        <a:bodyPr/>
        <a:lstStyle/>
        <a:p>
          <a:r>
            <a:rPr lang="en-US" b="1" dirty="0">
              <a:solidFill>
                <a:srgbClr val="FF0000"/>
              </a:solidFill>
            </a:rPr>
            <a:t>Cryptocurrencies</a:t>
          </a:r>
        </a:p>
      </dgm:t>
    </dgm:pt>
    <dgm:pt modelId="{0134D99C-9D82-47ED-942F-D3CE007BF666}" type="parTrans" cxnId="{9ED4AC2B-D6BD-4F09-B6C8-83AAAD35BEF2}">
      <dgm:prSet/>
      <dgm:spPr/>
      <dgm:t>
        <a:bodyPr/>
        <a:lstStyle/>
        <a:p>
          <a:endParaRPr lang="en-US"/>
        </a:p>
      </dgm:t>
    </dgm:pt>
    <dgm:pt modelId="{70004840-2664-414F-9D1C-C234168625A3}" type="sibTrans" cxnId="{9ED4AC2B-D6BD-4F09-B6C8-83AAAD35BEF2}">
      <dgm:prSet/>
      <dgm:spPr/>
      <dgm:t>
        <a:bodyPr/>
        <a:lstStyle/>
        <a:p>
          <a:endParaRPr lang="en-US"/>
        </a:p>
      </dgm:t>
    </dgm:pt>
    <dgm:pt modelId="{E4EC1D93-36D3-408C-B910-6932508D2DEF}" type="pres">
      <dgm:prSet presAssocID="{0E5EF866-CE8C-42CA-9989-26D6BA8EC803}" presName="vert0" presStyleCnt="0">
        <dgm:presLayoutVars>
          <dgm:dir/>
          <dgm:animOne val="branch"/>
          <dgm:animLvl val="lvl"/>
        </dgm:presLayoutVars>
      </dgm:prSet>
      <dgm:spPr/>
    </dgm:pt>
    <dgm:pt modelId="{50613E11-1A4E-4A40-8219-532309AEF721}" type="pres">
      <dgm:prSet presAssocID="{B7762EEC-C2CD-4F62-BB31-55D0DA6EE3CA}" presName="thickLine" presStyleLbl="alignNode1" presStyleIdx="0" presStyleCnt="10"/>
      <dgm:spPr/>
    </dgm:pt>
    <dgm:pt modelId="{7549617D-F4B8-4430-A101-65C808630F0D}" type="pres">
      <dgm:prSet presAssocID="{B7762EEC-C2CD-4F62-BB31-55D0DA6EE3CA}" presName="horz1" presStyleCnt="0"/>
      <dgm:spPr/>
    </dgm:pt>
    <dgm:pt modelId="{D58C5FB9-F384-413D-8D07-5D392F831816}" type="pres">
      <dgm:prSet presAssocID="{B7762EEC-C2CD-4F62-BB31-55D0DA6EE3CA}" presName="tx1" presStyleLbl="revTx" presStyleIdx="0" presStyleCnt="10"/>
      <dgm:spPr/>
    </dgm:pt>
    <dgm:pt modelId="{5FDD8BEA-3009-4838-BD9E-12B2B49B2281}" type="pres">
      <dgm:prSet presAssocID="{B7762EEC-C2CD-4F62-BB31-55D0DA6EE3CA}" presName="vert1" presStyleCnt="0"/>
      <dgm:spPr/>
    </dgm:pt>
    <dgm:pt modelId="{74F3D412-6B72-4B6C-A576-86DA9CA7E864}" type="pres">
      <dgm:prSet presAssocID="{E513F211-26BE-406A-BE33-41B621136078}" presName="thickLine" presStyleLbl="alignNode1" presStyleIdx="1" presStyleCnt="10"/>
      <dgm:spPr/>
    </dgm:pt>
    <dgm:pt modelId="{64BF040B-ABCA-4CFC-8D08-D178249D9185}" type="pres">
      <dgm:prSet presAssocID="{E513F211-26BE-406A-BE33-41B621136078}" presName="horz1" presStyleCnt="0"/>
      <dgm:spPr/>
    </dgm:pt>
    <dgm:pt modelId="{CEF6FDEF-DB0E-4BBC-A35A-17878BB8A802}" type="pres">
      <dgm:prSet presAssocID="{E513F211-26BE-406A-BE33-41B621136078}" presName="tx1" presStyleLbl="revTx" presStyleIdx="1" presStyleCnt="10"/>
      <dgm:spPr/>
    </dgm:pt>
    <dgm:pt modelId="{763C6902-87A7-44E5-BD06-E01E9BE09B68}" type="pres">
      <dgm:prSet presAssocID="{E513F211-26BE-406A-BE33-41B621136078}" presName="vert1" presStyleCnt="0"/>
      <dgm:spPr/>
    </dgm:pt>
    <dgm:pt modelId="{7DA6B928-9B12-48F0-B9F7-C06C520E131D}" type="pres">
      <dgm:prSet presAssocID="{045B875B-9A41-4A6F-8D0A-AB6098EEF00E}" presName="thickLine" presStyleLbl="alignNode1" presStyleIdx="2" presStyleCnt="10"/>
      <dgm:spPr/>
    </dgm:pt>
    <dgm:pt modelId="{1CD19031-2E45-4400-894E-AA7D3D77DFDE}" type="pres">
      <dgm:prSet presAssocID="{045B875B-9A41-4A6F-8D0A-AB6098EEF00E}" presName="horz1" presStyleCnt="0"/>
      <dgm:spPr/>
    </dgm:pt>
    <dgm:pt modelId="{5991D562-EF9A-49D5-A15D-E4A93C3641FA}" type="pres">
      <dgm:prSet presAssocID="{045B875B-9A41-4A6F-8D0A-AB6098EEF00E}" presName="tx1" presStyleLbl="revTx" presStyleIdx="2" presStyleCnt="10"/>
      <dgm:spPr/>
    </dgm:pt>
    <dgm:pt modelId="{1712F36F-5BDE-4174-92D2-1D47320FC79C}" type="pres">
      <dgm:prSet presAssocID="{045B875B-9A41-4A6F-8D0A-AB6098EEF00E}" presName="vert1" presStyleCnt="0"/>
      <dgm:spPr/>
    </dgm:pt>
    <dgm:pt modelId="{C3E0CC68-9675-4B22-BA5F-EB9715ED6E55}" type="pres">
      <dgm:prSet presAssocID="{F6C32D26-6F71-4724-8939-2064A40BA2A6}" presName="thickLine" presStyleLbl="alignNode1" presStyleIdx="3" presStyleCnt="10"/>
      <dgm:spPr/>
    </dgm:pt>
    <dgm:pt modelId="{EBE61601-08D3-4918-9636-968D5B3C2941}" type="pres">
      <dgm:prSet presAssocID="{F6C32D26-6F71-4724-8939-2064A40BA2A6}" presName="horz1" presStyleCnt="0"/>
      <dgm:spPr/>
    </dgm:pt>
    <dgm:pt modelId="{3D3013BF-CF4F-45B7-89E1-982BD714B1C5}" type="pres">
      <dgm:prSet presAssocID="{F6C32D26-6F71-4724-8939-2064A40BA2A6}" presName="tx1" presStyleLbl="revTx" presStyleIdx="3" presStyleCnt="10"/>
      <dgm:spPr/>
    </dgm:pt>
    <dgm:pt modelId="{FDCB12B4-78D4-41A3-A307-4860D89E950C}" type="pres">
      <dgm:prSet presAssocID="{F6C32D26-6F71-4724-8939-2064A40BA2A6}" presName="vert1" presStyleCnt="0"/>
      <dgm:spPr/>
    </dgm:pt>
    <dgm:pt modelId="{10491E28-78D8-4FDE-94F8-514589829ECC}" type="pres">
      <dgm:prSet presAssocID="{F8DEEC41-2412-4A4A-8FC1-28EFA589511F}" presName="thickLine" presStyleLbl="alignNode1" presStyleIdx="4" presStyleCnt="10"/>
      <dgm:spPr/>
    </dgm:pt>
    <dgm:pt modelId="{1D669F2F-C773-4874-B7BF-A0252BDC27F1}" type="pres">
      <dgm:prSet presAssocID="{F8DEEC41-2412-4A4A-8FC1-28EFA589511F}" presName="horz1" presStyleCnt="0"/>
      <dgm:spPr/>
    </dgm:pt>
    <dgm:pt modelId="{BA48AC61-3C52-452C-99E4-4F47761B0478}" type="pres">
      <dgm:prSet presAssocID="{F8DEEC41-2412-4A4A-8FC1-28EFA589511F}" presName="tx1" presStyleLbl="revTx" presStyleIdx="4" presStyleCnt="10"/>
      <dgm:spPr/>
    </dgm:pt>
    <dgm:pt modelId="{76C70094-1BBC-47DF-A2EE-ED7AE3B8CB25}" type="pres">
      <dgm:prSet presAssocID="{F8DEEC41-2412-4A4A-8FC1-28EFA589511F}" presName="vert1" presStyleCnt="0"/>
      <dgm:spPr/>
    </dgm:pt>
    <dgm:pt modelId="{1BC04E1F-1EFB-47DC-B8FC-0600553C9406}" type="pres">
      <dgm:prSet presAssocID="{6B430A3D-B8E8-4E7C-B207-2CCDF98AFC98}" presName="thickLine" presStyleLbl="alignNode1" presStyleIdx="5" presStyleCnt="10"/>
      <dgm:spPr/>
    </dgm:pt>
    <dgm:pt modelId="{DEC9F0EC-EDF5-4F57-90DB-C1EB51502408}" type="pres">
      <dgm:prSet presAssocID="{6B430A3D-B8E8-4E7C-B207-2CCDF98AFC98}" presName="horz1" presStyleCnt="0"/>
      <dgm:spPr/>
    </dgm:pt>
    <dgm:pt modelId="{04B3F5DD-6F2B-47D5-897E-DCF6FE47A06F}" type="pres">
      <dgm:prSet presAssocID="{6B430A3D-B8E8-4E7C-B207-2CCDF98AFC98}" presName="tx1" presStyleLbl="revTx" presStyleIdx="5" presStyleCnt="10"/>
      <dgm:spPr/>
    </dgm:pt>
    <dgm:pt modelId="{679F61A8-4DB9-4563-ADA5-0DDF1F07B5A8}" type="pres">
      <dgm:prSet presAssocID="{6B430A3D-B8E8-4E7C-B207-2CCDF98AFC98}" presName="vert1" presStyleCnt="0"/>
      <dgm:spPr/>
    </dgm:pt>
    <dgm:pt modelId="{04D4BBE0-D719-4EE8-815B-948E157F824D}" type="pres">
      <dgm:prSet presAssocID="{8BEADDD2-8CBD-4F8B-8859-7336D06633F0}" presName="thickLine" presStyleLbl="alignNode1" presStyleIdx="6" presStyleCnt="10"/>
      <dgm:spPr/>
    </dgm:pt>
    <dgm:pt modelId="{9FDF70C2-A12F-4081-A2D0-49EB3CAF3B09}" type="pres">
      <dgm:prSet presAssocID="{8BEADDD2-8CBD-4F8B-8859-7336D06633F0}" presName="horz1" presStyleCnt="0"/>
      <dgm:spPr/>
    </dgm:pt>
    <dgm:pt modelId="{D2DDC699-5972-49AA-BB2A-537FBC3266F5}" type="pres">
      <dgm:prSet presAssocID="{8BEADDD2-8CBD-4F8B-8859-7336D06633F0}" presName="tx1" presStyleLbl="revTx" presStyleIdx="6" presStyleCnt="10"/>
      <dgm:spPr/>
    </dgm:pt>
    <dgm:pt modelId="{C7645A30-8962-439A-945A-6F56D3C51085}" type="pres">
      <dgm:prSet presAssocID="{8BEADDD2-8CBD-4F8B-8859-7336D06633F0}" presName="vert1" presStyleCnt="0"/>
      <dgm:spPr/>
    </dgm:pt>
    <dgm:pt modelId="{9345A4B4-5D59-4F20-8641-44946AD07D1B}" type="pres">
      <dgm:prSet presAssocID="{93DFC436-6F82-4702-A92D-E9472C203ADA}" presName="thickLine" presStyleLbl="alignNode1" presStyleIdx="7" presStyleCnt="10"/>
      <dgm:spPr/>
    </dgm:pt>
    <dgm:pt modelId="{AC569112-94EF-467F-AFE3-957F6F6FCA2D}" type="pres">
      <dgm:prSet presAssocID="{93DFC436-6F82-4702-A92D-E9472C203ADA}" presName="horz1" presStyleCnt="0"/>
      <dgm:spPr/>
    </dgm:pt>
    <dgm:pt modelId="{A180555E-AFDF-4155-931E-8A5F1845827B}" type="pres">
      <dgm:prSet presAssocID="{93DFC436-6F82-4702-A92D-E9472C203ADA}" presName="tx1" presStyleLbl="revTx" presStyleIdx="7" presStyleCnt="10"/>
      <dgm:spPr/>
    </dgm:pt>
    <dgm:pt modelId="{C8B2521F-C978-4531-8581-CEECA3251DF3}" type="pres">
      <dgm:prSet presAssocID="{93DFC436-6F82-4702-A92D-E9472C203ADA}" presName="vert1" presStyleCnt="0"/>
      <dgm:spPr/>
    </dgm:pt>
    <dgm:pt modelId="{DBA20B85-D23B-46A3-8FBE-E9B02CCA5454}" type="pres">
      <dgm:prSet presAssocID="{3DD9BA53-B8E7-4F70-B3B1-36047A3F32B3}" presName="thickLine" presStyleLbl="alignNode1" presStyleIdx="8" presStyleCnt="10"/>
      <dgm:spPr/>
    </dgm:pt>
    <dgm:pt modelId="{2BB09824-747C-4723-8018-A242DEB160DC}" type="pres">
      <dgm:prSet presAssocID="{3DD9BA53-B8E7-4F70-B3B1-36047A3F32B3}" presName="horz1" presStyleCnt="0"/>
      <dgm:spPr/>
    </dgm:pt>
    <dgm:pt modelId="{71BDD64A-1261-4660-9C5B-36A0663EA3E4}" type="pres">
      <dgm:prSet presAssocID="{3DD9BA53-B8E7-4F70-B3B1-36047A3F32B3}" presName="tx1" presStyleLbl="revTx" presStyleIdx="8" presStyleCnt="10"/>
      <dgm:spPr/>
    </dgm:pt>
    <dgm:pt modelId="{0264D482-28D2-415F-899D-EFC4D5372D43}" type="pres">
      <dgm:prSet presAssocID="{3DD9BA53-B8E7-4F70-B3B1-36047A3F32B3}" presName="vert1" presStyleCnt="0"/>
      <dgm:spPr/>
    </dgm:pt>
    <dgm:pt modelId="{39E7AF0C-B1C6-4105-9BA0-179D805D9025}" type="pres">
      <dgm:prSet presAssocID="{8637AF3E-BB63-449C-A886-2F5EC2BCF33F}" presName="thickLine" presStyleLbl="alignNode1" presStyleIdx="9" presStyleCnt="10"/>
      <dgm:spPr/>
    </dgm:pt>
    <dgm:pt modelId="{4E773EC6-4697-4E80-AF3A-AEFA14AB9D18}" type="pres">
      <dgm:prSet presAssocID="{8637AF3E-BB63-449C-A886-2F5EC2BCF33F}" presName="horz1" presStyleCnt="0"/>
      <dgm:spPr/>
    </dgm:pt>
    <dgm:pt modelId="{98EB98CB-DEE7-4A09-A309-86BBC71A7807}" type="pres">
      <dgm:prSet presAssocID="{8637AF3E-BB63-449C-A886-2F5EC2BCF33F}" presName="tx1" presStyleLbl="revTx" presStyleIdx="9" presStyleCnt="10"/>
      <dgm:spPr/>
    </dgm:pt>
    <dgm:pt modelId="{83BA9327-7213-41DB-B577-89F0CE6F4EDD}" type="pres">
      <dgm:prSet presAssocID="{8637AF3E-BB63-449C-A886-2F5EC2BCF33F}" presName="vert1" presStyleCnt="0"/>
      <dgm:spPr/>
    </dgm:pt>
  </dgm:ptLst>
  <dgm:cxnLst>
    <dgm:cxn modelId="{9271BC05-A975-4D83-9A1A-F0FD89BA8ECD}" srcId="{0E5EF866-CE8C-42CA-9989-26D6BA8EC803}" destId="{F6C32D26-6F71-4724-8939-2064A40BA2A6}" srcOrd="3" destOrd="0" parTransId="{62D7E83A-D550-4438-94BE-95409725C17F}" sibTransId="{CC5DB653-82C3-4775-B400-7911ABA6C104}"/>
    <dgm:cxn modelId="{534B440B-40FA-4E39-A68E-027F755FB189}" srcId="{0E5EF866-CE8C-42CA-9989-26D6BA8EC803}" destId="{6B430A3D-B8E8-4E7C-B207-2CCDF98AFC98}" srcOrd="5" destOrd="0" parTransId="{B9797924-E5BE-42FA-AFBE-3F009E7A3672}" sibTransId="{C378D739-4375-4549-BED8-D13372D6A516}"/>
    <dgm:cxn modelId="{A0322317-A898-4ECD-BD8F-61C991A6B049}" type="presOf" srcId="{0E5EF866-CE8C-42CA-9989-26D6BA8EC803}" destId="{E4EC1D93-36D3-408C-B910-6932508D2DEF}" srcOrd="0" destOrd="0" presId="urn:microsoft.com/office/officeart/2008/layout/LinedList"/>
    <dgm:cxn modelId="{D066D420-360D-4C13-B4B0-74878B1876C1}" srcId="{0E5EF866-CE8C-42CA-9989-26D6BA8EC803}" destId="{045B875B-9A41-4A6F-8D0A-AB6098EEF00E}" srcOrd="2" destOrd="0" parTransId="{02900E14-2EB9-415B-B91C-C4AAABF94874}" sibTransId="{282DCD1E-85DA-4C6A-B959-CF86201A5C59}"/>
    <dgm:cxn modelId="{9ED4AC2B-D6BD-4F09-B6C8-83AAAD35BEF2}" srcId="{0E5EF866-CE8C-42CA-9989-26D6BA8EC803}" destId="{8637AF3E-BB63-449C-A886-2F5EC2BCF33F}" srcOrd="9" destOrd="0" parTransId="{0134D99C-9D82-47ED-942F-D3CE007BF666}" sibTransId="{70004840-2664-414F-9D1C-C234168625A3}"/>
    <dgm:cxn modelId="{F8A7752F-E9DA-4DC6-890E-86426220DE9B}" type="presOf" srcId="{F8DEEC41-2412-4A4A-8FC1-28EFA589511F}" destId="{BA48AC61-3C52-452C-99E4-4F47761B0478}" srcOrd="0" destOrd="0" presId="urn:microsoft.com/office/officeart/2008/layout/LinedList"/>
    <dgm:cxn modelId="{FB814B3D-F0FB-45D9-BCDB-FB00378BD975}" type="presOf" srcId="{93DFC436-6F82-4702-A92D-E9472C203ADA}" destId="{A180555E-AFDF-4155-931E-8A5F1845827B}" srcOrd="0" destOrd="0" presId="urn:microsoft.com/office/officeart/2008/layout/LinedList"/>
    <dgm:cxn modelId="{65AAC943-8373-4EA0-9ACF-94D41DB8C1DC}" srcId="{0E5EF866-CE8C-42CA-9989-26D6BA8EC803}" destId="{B7762EEC-C2CD-4F62-BB31-55D0DA6EE3CA}" srcOrd="0" destOrd="0" parTransId="{EDA3E3AB-AFBA-42F4-91FA-5C261FA0649C}" sibTransId="{7AFF32DF-A8AE-4376-A6D1-33612E68538F}"/>
    <dgm:cxn modelId="{9276EB45-314A-47C1-AC5A-4AEC45B6FA9A}" srcId="{0E5EF866-CE8C-42CA-9989-26D6BA8EC803}" destId="{93DFC436-6F82-4702-A92D-E9472C203ADA}" srcOrd="7" destOrd="0" parTransId="{D100EF5D-F314-4ACF-BC21-CEDF8100E4E0}" sibTransId="{E6CFA26D-D54E-4811-9FE4-2AD4686E2D5F}"/>
    <dgm:cxn modelId="{CDE2D34D-FD34-47A3-B850-22C58183C271}" type="presOf" srcId="{F6C32D26-6F71-4724-8939-2064A40BA2A6}" destId="{3D3013BF-CF4F-45B7-89E1-982BD714B1C5}" srcOrd="0" destOrd="0" presId="urn:microsoft.com/office/officeart/2008/layout/LinedList"/>
    <dgm:cxn modelId="{BB4A8471-A068-4E52-97BB-34BAB2559E8D}" srcId="{0E5EF866-CE8C-42CA-9989-26D6BA8EC803}" destId="{F8DEEC41-2412-4A4A-8FC1-28EFA589511F}" srcOrd="4" destOrd="0" parTransId="{3B223657-FD6B-47C5-8855-C3BBA2609D2F}" sibTransId="{4E7640CE-7AFF-4A67-A684-85125CA20A4E}"/>
    <dgm:cxn modelId="{9F7AE181-62E7-4F2D-8F9F-2BFC0C15EBAE}" srcId="{0E5EF866-CE8C-42CA-9989-26D6BA8EC803}" destId="{3DD9BA53-B8E7-4F70-B3B1-36047A3F32B3}" srcOrd="8" destOrd="0" parTransId="{8E966C1E-4F93-4390-A361-95D6DE719BD1}" sibTransId="{694AE231-BD01-4111-9DE4-65BAB2CDEF12}"/>
    <dgm:cxn modelId="{ABA2088C-31EA-4114-A3B8-753607123E75}" srcId="{0E5EF866-CE8C-42CA-9989-26D6BA8EC803}" destId="{8BEADDD2-8CBD-4F8B-8859-7336D06633F0}" srcOrd="6" destOrd="0" parTransId="{8320F281-92B1-4836-9F95-3354EDFF57E2}" sibTransId="{F7913FF0-4DCA-4320-9B32-542FC668E256}"/>
    <dgm:cxn modelId="{6D2C2F9F-4D8C-4845-ADDB-7DC0C407B13B}" type="presOf" srcId="{8BEADDD2-8CBD-4F8B-8859-7336D06633F0}" destId="{D2DDC699-5972-49AA-BB2A-537FBC3266F5}" srcOrd="0" destOrd="0" presId="urn:microsoft.com/office/officeart/2008/layout/LinedList"/>
    <dgm:cxn modelId="{64FCA9A2-9F48-4900-8050-882F4AEAB278}" srcId="{0E5EF866-CE8C-42CA-9989-26D6BA8EC803}" destId="{E513F211-26BE-406A-BE33-41B621136078}" srcOrd="1" destOrd="0" parTransId="{20EB422D-911D-4F09-A85D-6B74F018180C}" sibTransId="{35DC51AE-BECC-4AD7-B451-183E85766DD4}"/>
    <dgm:cxn modelId="{5746F5AB-A1D2-4FC9-A0BC-25EC72854D03}" type="presOf" srcId="{6B430A3D-B8E8-4E7C-B207-2CCDF98AFC98}" destId="{04B3F5DD-6F2B-47D5-897E-DCF6FE47A06F}" srcOrd="0" destOrd="0" presId="urn:microsoft.com/office/officeart/2008/layout/LinedList"/>
    <dgm:cxn modelId="{3DEC96DB-A847-437A-AFE4-5E5EDA3FDAD0}" type="presOf" srcId="{045B875B-9A41-4A6F-8D0A-AB6098EEF00E}" destId="{5991D562-EF9A-49D5-A15D-E4A93C3641FA}" srcOrd="0" destOrd="0" presId="urn:microsoft.com/office/officeart/2008/layout/LinedList"/>
    <dgm:cxn modelId="{F0CC62E0-71B9-491B-A428-13BBF314965A}" type="presOf" srcId="{B7762EEC-C2CD-4F62-BB31-55D0DA6EE3CA}" destId="{D58C5FB9-F384-413D-8D07-5D392F831816}" srcOrd="0" destOrd="0" presId="urn:microsoft.com/office/officeart/2008/layout/LinedList"/>
    <dgm:cxn modelId="{196DACEB-AAC9-4BF1-885F-5624EAACC8E6}" type="presOf" srcId="{8637AF3E-BB63-449C-A886-2F5EC2BCF33F}" destId="{98EB98CB-DEE7-4A09-A309-86BBC71A7807}" srcOrd="0" destOrd="0" presId="urn:microsoft.com/office/officeart/2008/layout/LinedList"/>
    <dgm:cxn modelId="{129081FB-41C4-4DE7-BE15-3E66EABD33EE}" type="presOf" srcId="{E513F211-26BE-406A-BE33-41B621136078}" destId="{CEF6FDEF-DB0E-4BBC-A35A-17878BB8A802}" srcOrd="0" destOrd="0" presId="urn:microsoft.com/office/officeart/2008/layout/LinedList"/>
    <dgm:cxn modelId="{5779D7FF-90CC-4763-80B2-641AAA9899EB}" type="presOf" srcId="{3DD9BA53-B8E7-4F70-B3B1-36047A3F32B3}" destId="{71BDD64A-1261-4660-9C5B-36A0663EA3E4}" srcOrd="0" destOrd="0" presId="urn:microsoft.com/office/officeart/2008/layout/LinedList"/>
    <dgm:cxn modelId="{F942BE2F-0682-4F4B-BC03-7D30ED7593F7}" type="presParOf" srcId="{E4EC1D93-36D3-408C-B910-6932508D2DEF}" destId="{50613E11-1A4E-4A40-8219-532309AEF721}" srcOrd="0" destOrd="0" presId="urn:microsoft.com/office/officeart/2008/layout/LinedList"/>
    <dgm:cxn modelId="{B32EC34F-3F09-4606-B90D-1C50F9E72B8F}" type="presParOf" srcId="{E4EC1D93-36D3-408C-B910-6932508D2DEF}" destId="{7549617D-F4B8-4430-A101-65C808630F0D}" srcOrd="1" destOrd="0" presId="urn:microsoft.com/office/officeart/2008/layout/LinedList"/>
    <dgm:cxn modelId="{E3FFCF9F-4E64-4D2D-BFED-A77DEE506542}" type="presParOf" srcId="{7549617D-F4B8-4430-A101-65C808630F0D}" destId="{D58C5FB9-F384-413D-8D07-5D392F831816}" srcOrd="0" destOrd="0" presId="urn:microsoft.com/office/officeart/2008/layout/LinedList"/>
    <dgm:cxn modelId="{1B5ADABD-A8C8-4C90-BC15-B5AF205ED598}" type="presParOf" srcId="{7549617D-F4B8-4430-A101-65C808630F0D}" destId="{5FDD8BEA-3009-4838-BD9E-12B2B49B2281}" srcOrd="1" destOrd="0" presId="urn:microsoft.com/office/officeart/2008/layout/LinedList"/>
    <dgm:cxn modelId="{87B23606-2D7D-4D79-B71F-4CB8D209C435}" type="presParOf" srcId="{E4EC1D93-36D3-408C-B910-6932508D2DEF}" destId="{74F3D412-6B72-4B6C-A576-86DA9CA7E864}" srcOrd="2" destOrd="0" presId="urn:microsoft.com/office/officeart/2008/layout/LinedList"/>
    <dgm:cxn modelId="{F90A4CE1-5B4F-4CCF-A264-31A95545E549}" type="presParOf" srcId="{E4EC1D93-36D3-408C-B910-6932508D2DEF}" destId="{64BF040B-ABCA-4CFC-8D08-D178249D9185}" srcOrd="3" destOrd="0" presId="urn:microsoft.com/office/officeart/2008/layout/LinedList"/>
    <dgm:cxn modelId="{19F9574C-F78F-48F8-A923-633F805100EC}" type="presParOf" srcId="{64BF040B-ABCA-4CFC-8D08-D178249D9185}" destId="{CEF6FDEF-DB0E-4BBC-A35A-17878BB8A802}" srcOrd="0" destOrd="0" presId="urn:microsoft.com/office/officeart/2008/layout/LinedList"/>
    <dgm:cxn modelId="{6124A4CA-48E8-4410-BDA6-E6C4E81ED1E3}" type="presParOf" srcId="{64BF040B-ABCA-4CFC-8D08-D178249D9185}" destId="{763C6902-87A7-44E5-BD06-E01E9BE09B68}" srcOrd="1" destOrd="0" presId="urn:microsoft.com/office/officeart/2008/layout/LinedList"/>
    <dgm:cxn modelId="{EF90D9BA-7FC3-473B-9182-85571158C8AF}" type="presParOf" srcId="{E4EC1D93-36D3-408C-B910-6932508D2DEF}" destId="{7DA6B928-9B12-48F0-B9F7-C06C520E131D}" srcOrd="4" destOrd="0" presId="urn:microsoft.com/office/officeart/2008/layout/LinedList"/>
    <dgm:cxn modelId="{C17AC56E-C84D-437C-8A63-EAE5ED6A074A}" type="presParOf" srcId="{E4EC1D93-36D3-408C-B910-6932508D2DEF}" destId="{1CD19031-2E45-4400-894E-AA7D3D77DFDE}" srcOrd="5" destOrd="0" presId="urn:microsoft.com/office/officeart/2008/layout/LinedList"/>
    <dgm:cxn modelId="{0C01FDDB-3132-45A6-88B9-60E923064921}" type="presParOf" srcId="{1CD19031-2E45-4400-894E-AA7D3D77DFDE}" destId="{5991D562-EF9A-49D5-A15D-E4A93C3641FA}" srcOrd="0" destOrd="0" presId="urn:microsoft.com/office/officeart/2008/layout/LinedList"/>
    <dgm:cxn modelId="{CF216EC7-38EB-4101-93D5-4CCEC048975E}" type="presParOf" srcId="{1CD19031-2E45-4400-894E-AA7D3D77DFDE}" destId="{1712F36F-5BDE-4174-92D2-1D47320FC79C}" srcOrd="1" destOrd="0" presId="urn:microsoft.com/office/officeart/2008/layout/LinedList"/>
    <dgm:cxn modelId="{423C5D35-9950-4219-9CC3-71F8C4608109}" type="presParOf" srcId="{E4EC1D93-36D3-408C-B910-6932508D2DEF}" destId="{C3E0CC68-9675-4B22-BA5F-EB9715ED6E55}" srcOrd="6" destOrd="0" presId="urn:microsoft.com/office/officeart/2008/layout/LinedList"/>
    <dgm:cxn modelId="{AB4B95E4-7E5C-4B3D-B67C-5DD5EEC3BD43}" type="presParOf" srcId="{E4EC1D93-36D3-408C-B910-6932508D2DEF}" destId="{EBE61601-08D3-4918-9636-968D5B3C2941}" srcOrd="7" destOrd="0" presId="urn:microsoft.com/office/officeart/2008/layout/LinedList"/>
    <dgm:cxn modelId="{5B2B3327-08DC-4FEA-AC78-BDF0AA13114B}" type="presParOf" srcId="{EBE61601-08D3-4918-9636-968D5B3C2941}" destId="{3D3013BF-CF4F-45B7-89E1-982BD714B1C5}" srcOrd="0" destOrd="0" presId="urn:microsoft.com/office/officeart/2008/layout/LinedList"/>
    <dgm:cxn modelId="{1FE4AE52-50BA-4AC3-8CA2-5570A7341770}" type="presParOf" srcId="{EBE61601-08D3-4918-9636-968D5B3C2941}" destId="{FDCB12B4-78D4-41A3-A307-4860D89E950C}" srcOrd="1" destOrd="0" presId="urn:microsoft.com/office/officeart/2008/layout/LinedList"/>
    <dgm:cxn modelId="{FF990711-42E3-4DBF-95F3-05C12923C748}" type="presParOf" srcId="{E4EC1D93-36D3-408C-B910-6932508D2DEF}" destId="{10491E28-78D8-4FDE-94F8-514589829ECC}" srcOrd="8" destOrd="0" presId="urn:microsoft.com/office/officeart/2008/layout/LinedList"/>
    <dgm:cxn modelId="{B8D8B938-B485-49E0-8B06-F25E0E859A6B}" type="presParOf" srcId="{E4EC1D93-36D3-408C-B910-6932508D2DEF}" destId="{1D669F2F-C773-4874-B7BF-A0252BDC27F1}" srcOrd="9" destOrd="0" presId="urn:microsoft.com/office/officeart/2008/layout/LinedList"/>
    <dgm:cxn modelId="{7434549D-9495-4664-8C05-2A37A737328B}" type="presParOf" srcId="{1D669F2F-C773-4874-B7BF-A0252BDC27F1}" destId="{BA48AC61-3C52-452C-99E4-4F47761B0478}" srcOrd="0" destOrd="0" presId="urn:microsoft.com/office/officeart/2008/layout/LinedList"/>
    <dgm:cxn modelId="{2AB5F241-758E-471B-BCE2-4E97D1B2A9B8}" type="presParOf" srcId="{1D669F2F-C773-4874-B7BF-A0252BDC27F1}" destId="{76C70094-1BBC-47DF-A2EE-ED7AE3B8CB25}" srcOrd="1" destOrd="0" presId="urn:microsoft.com/office/officeart/2008/layout/LinedList"/>
    <dgm:cxn modelId="{86BF262B-552C-4AC3-BF0E-EFF0A3730833}" type="presParOf" srcId="{E4EC1D93-36D3-408C-B910-6932508D2DEF}" destId="{1BC04E1F-1EFB-47DC-B8FC-0600553C9406}" srcOrd="10" destOrd="0" presId="urn:microsoft.com/office/officeart/2008/layout/LinedList"/>
    <dgm:cxn modelId="{B2B0F923-4A41-4408-B885-F69F8A2DB42C}" type="presParOf" srcId="{E4EC1D93-36D3-408C-B910-6932508D2DEF}" destId="{DEC9F0EC-EDF5-4F57-90DB-C1EB51502408}" srcOrd="11" destOrd="0" presId="urn:microsoft.com/office/officeart/2008/layout/LinedList"/>
    <dgm:cxn modelId="{9D3BE220-D12C-452A-B73A-A68CA4F2D72A}" type="presParOf" srcId="{DEC9F0EC-EDF5-4F57-90DB-C1EB51502408}" destId="{04B3F5DD-6F2B-47D5-897E-DCF6FE47A06F}" srcOrd="0" destOrd="0" presId="urn:microsoft.com/office/officeart/2008/layout/LinedList"/>
    <dgm:cxn modelId="{79CB1C4C-80F4-47DA-A68C-D127D222329B}" type="presParOf" srcId="{DEC9F0EC-EDF5-4F57-90DB-C1EB51502408}" destId="{679F61A8-4DB9-4563-ADA5-0DDF1F07B5A8}" srcOrd="1" destOrd="0" presId="urn:microsoft.com/office/officeart/2008/layout/LinedList"/>
    <dgm:cxn modelId="{7B8E1F10-04B8-4658-95A1-9A6ECD28B143}" type="presParOf" srcId="{E4EC1D93-36D3-408C-B910-6932508D2DEF}" destId="{04D4BBE0-D719-4EE8-815B-948E157F824D}" srcOrd="12" destOrd="0" presId="urn:microsoft.com/office/officeart/2008/layout/LinedList"/>
    <dgm:cxn modelId="{C4D5D97D-F113-49EB-A7B3-0A06C942E5A4}" type="presParOf" srcId="{E4EC1D93-36D3-408C-B910-6932508D2DEF}" destId="{9FDF70C2-A12F-4081-A2D0-49EB3CAF3B09}" srcOrd="13" destOrd="0" presId="urn:microsoft.com/office/officeart/2008/layout/LinedList"/>
    <dgm:cxn modelId="{3A30D8BD-476C-400F-A798-3728DA4D0F23}" type="presParOf" srcId="{9FDF70C2-A12F-4081-A2D0-49EB3CAF3B09}" destId="{D2DDC699-5972-49AA-BB2A-537FBC3266F5}" srcOrd="0" destOrd="0" presId="urn:microsoft.com/office/officeart/2008/layout/LinedList"/>
    <dgm:cxn modelId="{A188378E-4F77-4BEA-A236-CD7C053753E8}" type="presParOf" srcId="{9FDF70C2-A12F-4081-A2D0-49EB3CAF3B09}" destId="{C7645A30-8962-439A-945A-6F56D3C51085}" srcOrd="1" destOrd="0" presId="urn:microsoft.com/office/officeart/2008/layout/LinedList"/>
    <dgm:cxn modelId="{2F6CAC9A-C9D7-4FA7-AB77-5FAF39D60669}" type="presParOf" srcId="{E4EC1D93-36D3-408C-B910-6932508D2DEF}" destId="{9345A4B4-5D59-4F20-8641-44946AD07D1B}" srcOrd="14" destOrd="0" presId="urn:microsoft.com/office/officeart/2008/layout/LinedList"/>
    <dgm:cxn modelId="{C9A329B3-EEFD-4A35-A232-2A281F487E20}" type="presParOf" srcId="{E4EC1D93-36D3-408C-B910-6932508D2DEF}" destId="{AC569112-94EF-467F-AFE3-957F6F6FCA2D}" srcOrd="15" destOrd="0" presId="urn:microsoft.com/office/officeart/2008/layout/LinedList"/>
    <dgm:cxn modelId="{CFF6F2B7-3A41-4437-98E0-AEA90E848372}" type="presParOf" srcId="{AC569112-94EF-467F-AFE3-957F6F6FCA2D}" destId="{A180555E-AFDF-4155-931E-8A5F1845827B}" srcOrd="0" destOrd="0" presId="urn:microsoft.com/office/officeart/2008/layout/LinedList"/>
    <dgm:cxn modelId="{44AD5A46-58F2-47F9-9F41-0BFFBD9FB3E1}" type="presParOf" srcId="{AC569112-94EF-467F-AFE3-957F6F6FCA2D}" destId="{C8B2521F-C978-4531-8581-CEECA3251DF3}" srcOrd="1" destOrd="0" presId="urn:microsoft.com/office/officeart/2008/layout/LinedList"/>
    <dgm:cxn modelId="{7B779E73-EDA7-4C0E-AB33-2995DC61B7C6}" type="presParOf" srcId="{E4EC1D93-36D3-408C-B910-6932508D2DEF}" destId="{DBA20B85-D23B-46A3-8FBE-E9B02CCA5454}" srcOrd="16" destOrd="0" presId="urn:microsoft.com/office/officeart/2008/layout/LinedList"/>
    <dgm:cxn modelId="{9BAF3561-FDAE-4EC8-8D77-C25936D15DB1}" type="presParOf" srcId="{E4EC1D93-36D3-408C-B910-6932508D2DEF}" destId="{2BB09824-747C-4723-8018-A242DEB160DC}" srcOrd="17" destOrd="0" presId="urn:microsoft.com/office/officeart/2008/layout/LinedList"/>
    <dgm:cxn modelId="{05B4845D-9B8F-4E5B-8C5E-735643C22435}" type="presParOf" srcId="{2BB09824-747C-4723-8018-A242DEB160DC}" destId="{71BDD64A-1261-4660-9C5B-36A0663EA3E4}" srcOrd="0" destOrd="0" presId="urn:microsoft.com/office/officeart/2008/layout/LinedList"/>
    <dgm:cxn modelId="{8DB418B3-3211-479B-BDC4-A619F3E012FE}" type="presParOf" srcId="{2BB09824-747C-4723-8018-A242DEB160DC}" destId="{0264D482-28D2-415F-899D-EFC4D5372D43}" srcOrd="1" destOrd="0" presId="urn:microsoft.com/office/officeart/2008/layout/LinedList"/>
    <dgm:cxn modelId="{D7712518-C66F-4419-8732-8A6BD825F457}" type="presParOf" srcId="{E4EC1D93-36D3-408C-B910-6932508D2DEF}" destId="{39E7AF0C-B1C6-4105-9BA0-179D805D9025}" srcOrd="18" destOrd="0" presId="urn:microsoft.com/office/officeart/2008/layout/LinedList"/>
    <dgm:cxn modelId="{78DCCAAE-A218-4C7D-90BA-280B7411C118}" type="presParOf" srcId="{E4EC1D93-36D3-408C-B910-6932508D2DEF}" destId="{4E773EC6-4697-4E80-AF3A-AEFA14AB9D18}" srcOrd="19" destOrd="0" presId="urn:microsoft.com/office/officeart/2008/layout/LinedList"/>
    <dgm:cxn modelId="{24287BB2-4A22-48B3-9032-39524099B578}" type="presParOf" srcId="{4E773EC6-4697-4E80-AF3A-AEFA14AB9D18}" destId="{98EB98CB-DEE7-4A09-A309-86BBC71A7807}" srcOrd="0" destOrd="0" presId="urn:microsoft.com/office/officeart/2008/layout/LinedList"/>
    <dgm:cxn modelId="{8827994D-B9C5-460C-B15B-0BACA2F31F76}" type="presParOf" srcId="{4E773EC6-4697-4E80-AF3A-AEFA14AB9D18}" destId="{83BA9327-7213-41DB-B577-89F0CE6F4EDD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5C02FC-95FF-4927-8405-8559BFF06487}">
      <dsp:nvSpPr>
        <dsp:cNvPr id="0" name=""/>
        <dsp:cNvSpPr/>
      </dsp:nvSpPr>
      <dsp:spPr>
        <a:xfrm>
          <a:off x="2310" y="342627"/>
          <a:ext cx="1833041" cy="1099824"/>
        </a:xfrm>
        <a:prstGeom prst="rect">
          <a:avLst/>
        </a:prstGeom>
        <a:solidFill>
          <a:schemeClr val="accent3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Espionage</a:t>
          </a:r>
        </a:p>
      </dsp:txBody>
      <dsp:txXfrm>
        <a:off x="2310" y="342627"/>
        <a:ext cx="1833041" cy="1099824"/>
      </dsp:txXfrm>
    </dsp:sp>
    <dsp:sp modelId="{A4D06C08-E898-49CB-BAD5-A710ECA5E9CB}">
      <dsp:nvSpPr>
        <dsp:cNvPr id="0" name=""/>
        <dsp:cNvSpPr/>
      </dsp:nvSpPr>
      <dsp:spPr>
        <a:xfrm>
          <a:off x="2018656" y="342627"/>
          <a:ext cx="1833041" cy="109982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Theft of Intellectual Property</a:t>
          </a:r>
        </a:p>
      </dsp:txBody>
      <dsp:txXfrm>
        <a:off x="2018656" y="342627"/>
        <a:ext cx="1833041" cy="1099824"/>
      </dsp:txXfrm>
    </dsp:sp>
    <dsp:sp modelId="{E6A9B149-0724-454D-9B23-81A128CFD4BC}">
      <dsp:nvSpPr>
        <dsp:cNvPr id="0" name=""/>
        <dsp:cNvSpPr/>
      </dsp:nvSpPr>
      <dsp:spPr>
        <a:xfrm>
          <a:off x="4035002" y="342627"/>
          <a:ext cx="1833041" cy="1099824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Manipulation of Data</a:t>
          </a:r>
        </a:p>
      </dsp:txBody>
      <dsp:txXfrm>
        <a:off x="4035002" y="342627"/>
        <a:ext cx="1833041" cy="1099824"/>
      </dsp:txXfrm>
    </dsp:sp>
    <dsp:sp modelId="{AFA39636-9622-4605-A02F-F293A6035B24}">
      <dsp:nvSpPr>
        <dsp:cNvPr id="0" name=""/>
        <dsp:cNvSpPr/>
      </dsp:nvSpPr>
      <dsp:spPr>
        <a:xfrm>
          <a:off x="6051347" y="342627"/>
          <a:ext cx="1833041" cy="1099824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Trojan Horse</a:t>
          </a:r>
        </a:p>
      </dsp:txBody>
      <dsp:txXfrm>
        <a:off x="6051347" y="342627"/>
        <a:ext cx="1833041" cy="1099824"/>
      </dsp:txXfrm>
    </dsp:sp>
    <dsp:sp modelId="{15DD4959-0070-40D5-8D94-8A26E5883F4F}">
      <dsp:nvSpPr>
        <dsp:cNvPr id="0" name=""/>
        <dsp:cNvSpPr/>
      </dsp:nvSpPr>
      <dsp:spPr>
        <a:xfrm>
          <a:off x="2310" y="1625756"/>
          <a:ext cx="1833041" cy="1099824"/>
        </a:xfrm>
        <a:prstGeom prst="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SQL Injection</a:t>
          </a:r>
        </a:p>
      </dsp:txBody>
      <dsp:txXfrm>
        <a:off x="2310" y="1625756"/>
        <a:ext cx="1833041" cy="1099824"/>
      </dsp:txXfrm>
    </dsp:sp>
    <dsp:sp modelId="{73E7A8B7-5A92-4895-BC07-B45C7003F454}">
      <dsp:nvSpPr>
        <dsp:cNvPr id="0" name=""/>
        <dsp:cNvSpPr/>
      </dsp:nvSpPr>
      <dsp:spPr>
        <a:xfrm>
          <a:off x="2018656" y="1625756"/>
          <a:ext cx="1833041" cy="1099824"/>
        </a:xfrm>
        <a:prstGeom prst="rect">
          <a:avLst/>
        </a:prstGeom>
        <a:solidFill>
          <a:schemeClr val="accent3">
            <a:shade val="50000"/>
            <a:hueOff val="0"/>
            <a:satOff val="0"/>
            <a:lumOff val="299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Brute-Force</a:t>
          </a:r>
        </a:p>
      </dsp:txBody>
      <dsp:txXfrm>
        <a:off x="2018656" y="1625756"/>
        <a:ext cx="1833041" cy="1099824"/>
      </dsp:txXfrm>
    </dsp:sp>
    <dsp:sp modelId="{0C7291A3-2602-4E30-AC43-4262D0D997C0}">
      <dsp:nvSpPr>
        <dsp:cNvPr id="0" name=""/>
        <dsp:cNvSpPr/>
      </dsp:nvSpPr>
      <dsp:spPr>
        <a:xfrm>
          <a:off x="4035002" y="1625756"/>
          <a:ext cx="1833041" cy="1099824"/>
        </a:xfrm>
        <a:prstGeom prst="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Phishing/Spoofing</a:t>
          </a:r>
        </a:p>
      </dsp:txBody>
      <dsp:txXfrm>
        <a:off x="4035002" y="1625756"/>
        <a:ext cx="1833041" cy="1099824"/>
      </dsp:txXfrm>
    </dsp:sp>
    <dsp:sp modelId="{C9F4A2C6-DC05-4457-A306-4B7686E0F9BD}">
      <dsp:nvSpPr>
        <dsp:cNvPr id="0" name=""/>
        <dsp:cNvSpPr/>
      </dsp:nvSpPr>
      <dsp:spPr>
        <a:xfrm>
          <a:off x="6051347" y="1625756"/>
          <a:ext cx="1833041" cy="1099824"/>
        </a:xfrm>
        <a:prstGeom prst="rect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Privilege Escalation</a:t>
          </a:r>
        </a:p>
      </dsp:txBody>
      <dsp:txXfrm>
        <a:off x="6051347" y="1625756"/>
        <a:ext cx="1833041" cy="1099824"/>
      </dsp:txXfrm>
    </dsp:sp>
    <dsp:sp modelId="{2F6982D9-A65A-44EF-B9DD-BDC6F03C3EEE}">
      <dsp:nvSpPr>
        <dsp:cNvPr id="0" name=""/>
        <dsp:cNvSpPr/>
      </dsp:nvSpPr>
      <dsp:spPr>
        <a:xfrm>
          <a:off x="2310" y="2908885"/>
          <a:ext cx="1833041" cy="1099824"/>
        </a:xfrm>
        <a:prstGeom prst="rect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DoS</a:t>
          </a:r>
        </a:p>
      </dsp:txBody>
      <dsp:txXfrm>
        <a:off x="2310" y="2908885"/>
        <a:ext cx="1833041" cy="1099824"/>
      </dsp:txXfrm>
    </dsp:sp>
    <dsp:sp modelId="{290BCEA2-A232-4A61-958C-E814598669CB}">
      <dsp:nvSpPr>
        <dsp:cNvPr id="0" name=""/>
        <dsp:cNvSpPr/>
      </dsp:nvSpPr>
      <dsp:spPr>
        <a:xfrm>
          <a:off x="2018656" y="2908885"/>
          <a:ext cx="1833041" cy="1099824"/>
        </a:xfrm>
        <a:prstGeom prst="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Cyber Defamation</a:t>
          </a:r>
        </a:p>
      </dsp:txBody>
      <dsp:txXfrm>
        <a:off x="2018656" y="2908885"/>
        <a:ext cx="1833041" cy="1099824"/>
      </dsp:txXfrm>
    </dsp:sp>
    <dsp:sp modelId="{B112670F-115C-4DA0-879E-D9AE32708E57}">
      <dsp:nvSpPr>
        <dsp:cNvPr id="0" name=""/>
        <dsp:cNvSpPr/>
      </dsp:nvSpPr>
      <dsp:spPr>
        <a:xfrm>
          <a:off x="4035002" y="2908885"/>
          <a:ext cx="1833041" cy="1099824"/>
        </a:xfrm>
        <a:prstGeom prst="rect">
          <a:avLst/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Cyberterrorism</a:t>
          </a:r>
        </a:p>
      </dsp:txBody>
      <dsp:txXfrm>
        <a:off x="4035002" y="2908885"/>
        <a:ext cx="1833041" cy="1099824"/>
      </dsp:txXfrm>
    </dsp:sp>
    <dsp:sp modelId="{7826A505-2EE6-4CF8-A919-42111674FFA6}">
      <dsp:nvSpPr>
        <dsp:cNvPr id="0" name=""/>
        <dsp:cNvSpPr/>
      </dsp:nvSpPr>
      <dsp:spPr>
        <a:xfrm>
          <a:off x="6051347" y="2908885"/>
          <a:ext cx="1833041" cy="1099824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bg1"/>
              </a:solidFill>
            </a:rPr>
            <a:t>Cyberwarfare</a:t>
          </a:r>
        </a:p>
      </dsp:txBody>
      <dsp:txXfrm>
        <a:off x="6051347" y="2908885"/>
        <a:ext cx="1833041" cy="109982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5DEEDC-C00B-47BA-81F5-3BA63709AF42}">
      <dsp:nvSpPr>
        <dsp:cNvPr id="0" name=""/>
        <dsp:cNvSpPr/>
      </dsp:nvSpPr>
      <dsp:spPr>
        <a:xfrm>
          <a:off x="550" y="498317"/>
          <a:ext cx="2145218" cy="128713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>
              <a:solidFill>
                <a:schemeClr val="bg1"/>
              </a:solidFill>
            </a:rPr>
            <a:t>Understandable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550" y="498317"/>
        <a:ext cx="2145218" cy="1287130"/>
      </dsp:txXfrm>
    </dsp:sp>
    <dsp:sp modelId="{72249359-4684-42AA-950A-5481C6B7967B}">
      <dsp:nvSpPr>
        <dsp:cNvPr id="0" name=""/>
        <dsp:cNvSpPr/>
      </dsp:nvSpPr>
      <dsp:spPr>
        <a:xfrm>
          <a:off x="2360289" y="498317"/>
          <a:ext cx="2145218" cy="128713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>
              <a:solidFill>
                <a:schemeClr val="bg1"/>
              </a:solidFill>
            </a:rPr>
            <a:t>Admissible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2360289" y="498317"/>
        <a:ext cx="2145218" cy="1287130"/>
      </dsp:txXfrm>
    </dsp:sp>
    <dsp:sp modelId="{895213CA-4A66-4FF2-8F04-898138AFE13A}">
      <dsp:nvSpPr>
        <dsp:cNvPr id="0" name=""/>
        <dsp:cNvSpPr/>
      </dsp:nvSpPr>
      <dsp:spPr>
        <a:xfrm>
          <a:off x="550" y="1999970"/>
          <a:ext cx="2145218" cy="128713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>
              <a:solidFill>
                <a:schemeClr val="bg1"/>
              </a:solidFill>
            </a:rPr>
            <a:t>Authentic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550" y="1999970"/>
        <a:ext cx="2145218" cy="1287130"/>
      </dsp:txXfrm>
    </dsp:sp>
    <dsp:sp modelId="{6B9E336F-3E70-431A-8BA5-FF3417BDB172}">
      <dsp:nvSpPr>
        <dsp:cNvPr id="0" name=""/>
        <dsp:cNvSpPr/>
      </dsp:nvSpPr>
      <dsp:spPr>
        <a:xfrm>
          <a:off x="2360289" y="1999970"/>
          <a:ext cx="2145218" cy="12871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>
              <a:solidFill>
                <a:schemeClr val="bg1"/>
              </a:solidFill>
            </a:rPr>
            <a:t>Reliable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2360289" y="1999970"/>
        <a:ext cx="2145218" cy="1287130"/>
      </dsp:txXfrm>
    </dsp:sp>
    <dsp:sp modelId="{3CC8B27E-1E5B-4A4D-8BDA-5E298236035B}">
      <dsp:nvSpPr>
        <dsp:cNvPr id="0" name=""/>
        <dsp:cNvSpPr/>
      </dsp:nvSpPr>
      <dsp:spPr>
        <a:xfrm>
          <a:off x="550" y="3501623"/>
          <a:ext cx="2145218" cy="128713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>
              <a:solidFill>
                <a:schemeClr val="bg1"/>
              </a:solidFill>
            </a:rPr>
            <a:t>Complete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550" y="3501623"/>
        <a:ext cx="2145218" cy="1287130"/>
      </dsp:txXfrm>
    </dsp:sp>
    <dsp:sp modelId="{031AC79E-7F11-41AA-BB38-90A41D2F314A}">
      <dsp:nvSpPr>
        <dsp:cNvPr id="0" name=""/>
        <dsp:cNvSpPr/>
      </dsp:nvSpPr>
      <dsp:spPr>
        <a:xfrm>
          <a:off x="2360289" y="3501623"/>
          <a:ext cx="2145218" cy="128713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bg1"/>
              </a:solidFill>
            </a:rPr>
            <a:t>Materiality</a:t>
          </a:r>
        </a:p>
      </dsp:txBody>
      <dsp:txXfrm>
        <a:off x="2360289" y="3501623"/>
        <a:ext cx="2145218" cy="128713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DF0D37-402D-46B1-80BB-23B01269F5A3}">
      <dsp:nvSpPr>
        <dsp:cNvPr id="0" name=""/>
        <dsp:cNvSpPr/>
      </dsp:nvSpPr>
      <dsp:spPr>
        <a:xfrm>
          <a:off x="0" y="277748"/>
          <a:ext cx="78867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9B2748-D12F-4190-9673-8F88B00EFE36}">
      <dsp:nvSpPr>
        <dsp:cNvPr id="0" name=""/>
        <dsp:cNvSpPr/>
      </dsp:nvSpPr>
      <dsp:spPr>
        <a:xfrm>
          <a:off x="394335" y="41588"/>
          <a:ext cx="5520690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669" tIns="0" rIns="208669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Rule 102: Purpose</a:t>
          </a:r>
        </a:p>
      </dsp:txBody>
      <dsp:txXfrm>
        <a:off x="417392" y="64645"/>
        <a:ext cx="5474576" cy="426206"/>
      </dsp:txXfrm>
    </dsp:sp>
    <dsp:sp modelId="{310BD228-B794-4A8F-BD89-E19F22F84969}">
      <dsp:nvSpPr>
        <dsp:cNvPr id="0" name=""/>
        <dsp:cNvSpPr/>
      </dsp:nvSpPr>
      <dsp:spPr>
        <a:xfrm>
          <a:off x="0" y="1003508"/>
          <a:ext cx="78867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43AFEE-00F4-496F-85B7-FAE6158B3259}">
      <dsp:nvSpPr>
        <dsp:cNvPr id="0" name=""/>
        <dsp:cNvSpPr/>
      </dsp:nvSpPr>
      <dsp:spPr>
        <a:xfrm>
          <a:off x="394335" y="767349"/>
          <a:ext cx="5520690" cy="4723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669" tIns="0" rIns="208669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Rule 103: Rulings of Evidence</a:t>
          </a:r>
        </a:p>
      </dsp:txBody>
      <dsp:txXfrm>
        <a:off x="417392" y="790406"/>
        <a:ext cx="5474576" cy="426206"/>
      </dsp:txXfrm>
    </dsp:sp>
    <dsp:sp modelId="{E89C06BB-DB98-4E57-93B1-9801F031C146}">
      <dsp:nvSpPr>
        <dsp:cNvPr id="0" name=""/>
        <dsp:cNvSpPr/>
      </dsp:nvSpPr>
      <dsp:spPr>
        <a:xfrm>
          <a:off x="0" y="1729268"/>
          <a:ext cx="78867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E5F130-4032-4A68-BE0B-6A90790A2D09}">
      <dsp:nvSpPr>
        <dsp:cNvPr id="0" name=""/>
        <dsp:cNvSpPr/>
      </dsp:nvSpPr>
      <dsp:spPr>
        <a:xfrm>
          <a:off x="394335" y="1493108"/>
          <a:ext cx="5520690" cy="4723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669" tIns="0" rIns="208669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Rule 104: Preliminary Questions</a:t>
          </a:r>
        </a:p>
      </dsp:txBody>
      <dsp:txXfrm>
        <a:off x="417392" y="1516165"/>
        <a:ext cx="5474576" cy="426206"/>
      </dsp:txXfrm>
    </dsp:sp>
    <dsp:sp modelId="{3FEB036E-D781-43DC-B691-7379CC3C2117}">
      <dsp:nvSpPr>
        <dsp:cNvPr id="0" name=""/>
        <dsp:cNvSpPr/>
      </dsp:nvSpPr>
      <dsp:spPr>
        <a:xfrm>
          <a:off x="0" y="2455028"/>
          <a:ext cx="78867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EA8955-E37A-4EAC-8FF5-65C197434FA3}">
      <dsp:nvSpPr>
        <dsp:cNvPr id="0" name=""/>
        <dsp:cNvSpPr/>
      </dsp:nvSpPr>
      <dsp:spPr>
        <a:xfrm>
          <a:off x="394335" y="2218868"/>
          <a:ext cx="5520690" cy="4723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669" tIns="0" rIns="208669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Rule 105: Limited Admissibility</a:t>
          </a:r>
        </a:p>
      </dsp:txBody>
      <dsp:txXfrm>
        <a:off x="417392" y="2241925"/>
        <a:ext cx="5474576" cy="426206"/>
      </dsp:txXfrm>
    </dsp:sp>
    <dsp:sp modelId="{56CCA9A4-7995-43E0-80D2-4CF8577FF273}">
      <dsp:nvSpPr>
        <dsp:cNvPr id="0" name=""/>
        <dsp:cNvSpPr/>
      </dsp:nvSpPr>
      <dsp:spPr>
        <a:xfrm>
          <a:off x="0" y="3180789"/>
          <a:ext cx="78867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AD6F44-C965-4AF0-8957-947EE9731FDC}">
      <dsp:nvSpPr>
        <dsp:cNvPr id="0" name=""/>
        <dsp:cNvSpPr/>
      </dsp:nvSpPr>
      <dsp:spPr>
        <a:xfrm>
          <a:off x="394335" y="2944629"/>
          <a:ext cx="5520690" cy="47232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669" tIns="0" rIns="208669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Rule 801: Hearsay Rule</a:t>
          </a:r>
        </a:p>
      </dsp:txBody>
      <dsp:txXfrm>
        <a:off x="417392" y="2967686"/>
        <a:ext cx="5474576" cy="426206"/>
      </dsp:txXfrm>
    </dsp:sp>
    <dsp:sp modelId="{942D9565-A7F7-435E-8466-C5224A836AAD}">
      <dsp:nvSpPr>
        <dsp:cNvPr id="0" name=""/>
        <dsp:cNvSpPr/>
      </dsp:nvSpPr>
      <dsp:spPr>
        <a:xfrm>
          <a:off x="0" y="3906549"/>
          <a:ext cx="78867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3F72FF-1FB7-41A5-B3CD-707E0CED4702}">
      <dsp:nvSpPr>
        <dsp:cNvPr id="0" name=""/>
        <dsp:cNvSpPr/>
      </dsp:nvSpPr>
      <dsp:spPr>
        <a:xfrm>
          <a:off x="394335" y="3670389"/>
          <a:ext cx="5520690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669" tIns="0" rIns="208669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Rule 801: Statements that are Not Hearsay</a:t>
          </a:r>
        </a:p>
      </dsp:txBody>
      <dsp:txXfrm>
        <a:off x="417392" y="3693446"/>
        <a:ext cx="5474576" cy="42620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894B67-8DD9-457C-BA8C-0EEBDA830A2C}">
      <dsp:nvSpPr>
        <dsp:cNvPr id="0" name=""/>
        <dsp:cNvSpPr/>
      </dsp:nvSpPr>
      <dsp:spPr>
        <a:xfrm>
          <a:off x="0" y="277748"/>
          <a:ext cx="8726365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BFA35F-4CB5-4790-B502-04C5008CAE02}">
      <dsp:nvSpPr>
        <dsp:cNvPr id="0" name=""/>
        <dsp:cNvSpPr/>
      </dsp:nvSpPr>
      <dsp:spPr>
        <a:xfrm>
          <a:off x="436318" y="41588"/>
          <a:ext cx="6108455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885" tIns="0" rIns="23088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Rule 803: Hearsay Exceptions (availability of Declarant Immaterial)</a:t>
          </a:r>
        </a:p>
      </dsp:txBody>
      <dsp:txXfrm>
        <a:off x="459375" y="64645"/>
        <a:ext cx="6062341" cy="426206"/>
      </dsp:txXfrm>
    </dsp:sp>
    <dsp:sp modelId="{867050F0-386A-4BD1-AC68-5F196C1662A4}">
      <dsp:nvSpPr>
        <dsp:cNvPr id="0" name=""/>
        <dsp:cNvSpPr/>
      </dsp:nvSpPr>
      <dsp:spPr>
        <a:xfrm>
          <a:off x="0" y="1003508"/>
          <a:ext cx="8726365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497B70-208F-4B97-89FA-E332C9C0A683}">
      <dsp:nvSpPr>
        <dsp:cNvPr id="0" name=""/>
        <dsp:cNvSpPr/>
      </dsp:nvSpPr>
      <dsp:spPr>
        <a:xfrm>
          <a:off x="436318" y="767349"/>
          <a:ext cx="6108455" cy="4723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885" tIns="0" rIns="23088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Rule 804: Hearsay Exceptions (Declarant Unavailable)</a:t>
          </a:r>
        </a:p>
      </dsp:txBody>
      <dsp:txXfrm>
        <a:off x="459375" y="790406"/>
        <a:ext cx="6062341" cy="426206"/>
      </dsp:txXfrm>
    </dsp:sp>
    <dsp:sp modelId="{9A17E1F4-1828-414C-9D67-A8E9583DDE9B}">
      <dsp:nvSpPr>
        <dsp:cNvPr id="0" name=""/>
        <dsp:cNvSpPr/>
      </dsp:nvSpPr>
      <dsp:spPr>
        <a:xfrm>
          <a:off x="0" y="1729268"/>
          <a:ext cx="8726365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1F7EAC-7706-4E69-B49A-092F12FB6BB9}">
      <dsp:nvSpPr>
        <dsp:cNvPr id="0" name=""/>
        <dsp:cNvSpPr/>
      </dsp:nvSpPr>
      <dsp:spPr>
        <a:xfrm>
          <a:off x="436318" y="1493108"/>
          <a:ext cx="6108455" cy="4723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885" tIns="0" rIns="23088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Rule 1001: Definitions that apply</a:t>
          </a:r>
        </a:p>
      </dsp:txBody>
      <dsp:txXfrm>
        <a:off x="459375" y="1516165"/>
        <a:ext cx="6062341" cy="426206"/>
      </dsp:txXfrm>
    </dsp:sp>
    <dsp:sp modelId="{446B128C-400B-4666-8807-1E8D9561EC20}">
      <dsp:nvSpPr>
        <dsp:cNvPr id="0" name=""/>
        <dsp:cNvSpPr/>
      </dsp:nvSpPr>
      <dsp:spPr>
        <a:xfrm>
          <a:off x="0" y="2455028"/>
          <a:ext cx="8726365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82544-F55A-4D33-A2C8-EFC6E387D556}">
      <dsp:nvSpPr>
        <dsp:cNvPr id="0" name=""/>
        <dsp:cNvSpPr/>
      </dsp:nvSpPr>
      <dsp:spPr>
        <a:xfrm>
          <a:off x="436318" y="2218868"/>
          <a:ext cx="6108455" cy="4723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885" tIns="0" rIns="23088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Rule 1002: Requirement of Original</a:t>
          </a:r>
        </a:p>
      </dsp:txBody>
      <dsp:txXfrm>
        <a:off x="459375" y="2241925"/>
        <a:ext cx="6062341" cy="426206"/>
      </dsp:txXfrm>
    </dsp:sp>
    <dsp:sp modelId="{5A24C0A1-172F-4EE5-88FD-D1A4DAB9F0B6}">
      <dsp:nvSpPr>
        <dsp:cNvPr id="0" name=""/>
        <dsp:cNvSpPr/>
      </dsp:nvSpPr>
      <dsp:spPr>
        <a:xfrm>
          <a:off x="0" y="3180789"/>
          <a:ext cx="8726365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43AF6C-0F1D-464C-8162-433D9ED0A09D}">
      <dsp:nvSpPr>
        <dsp:cNvPr id="0" name=""/>
        <dsp:cNvSpPr/>
      </dsp:nvSpPr>
      <dsp:spPr>
        <a:xfrm>
          <a:off x="436318" y="2944629"/>
          <a:ext cx="6108455" cy="47232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885" tIns="0" rIns="23088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Rule 1003: Admissibility of Duplicates</a:t>
          </a:r>
        </a:p>
      </dsp:txBody>
      <dsp:txXfrm>
        <a:off x="459375" y="2967686"/>
        <a:ext cx="6062341" cy="426206"/>
      </dsp:txXfrm>
    </dsp:sp>
    <dsp:sp modelId="{A2617942-36EC-41CA-AFC3-0F9B632985A7}">
      <dsp:nvSpPr>
        <dsp:cNvPr id="0" name=""/>
        <dsp:cNvSpPr/>
      </dsp:nvSpPr>
      <dsp:spPr>
        <a:xfrm>
          <a:off x="0" y="3906549"/>
          <a:ext cx="8726365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07FA9D-D2E3-42BF-BB30-8E0DA3EAABF3}">
      <dsp:nvSpPr>
        <dsp:cNvPr id="0" name=""/>
        <dsp:cNvSpPr/>
      </dsp:nvSpPr>
      <dsp:spPr>
        <a:xfrm>
          <a:off x="436318" y="3670389"/>
          <a:ext cx="6108455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885" tIns="0" rIns="23088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bg1"/>
              </a:solidFill>
            </a:rPr>
            <a:t>Rule 1004: Admissibility of Other Evidence of Contents</a:t>
          </a:r>
        </a:p>
      </dsp:txBody>
      <dsp:txXfrm>
        <a:off x="459375" y="3693446"/>
        <a:ext cx="6062341" cy="42620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74A1A5-6E40-4829-90A0-834A4D88F8EB}">
      <dsp:nvSpPr>
        <dsp:cNvPr id="0" name=""/>
        <dsp:cNvSpPr/>
      </dsp:nvSpPr>
      <dsp:spPr>
        <a:xfrm>
          <a:off x="2310" y="342627"/>
          <a:ext cx="1833041" cy="109982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Detailed Record</a:t>
          </a:r>
        </a:p>
      </dsp:txBody>
      <dsp:txXfrm>
        <a:off x="2310" y="342627"/>
        <a:ext cx="1833041" cy="1099824"/>
      </dsp:txXfrm>
    </dsp:sp>
    <dsp:sp modelId="{E5C72E74-3048-44CD-B707-FD2EE6E2F5C8}">
      <dsp:nvSpPr>
        <dsp:cNvPr id="0" name=""/>
        <dsp:cNvSpPr/>
      </dsp:nvSpPr>
      <dsp:spPr>
        <a:xfrm>
          <a:off x="2018656" y="342627"/>
          <a:ext cx="1833041" cy="1099824"/>
        </a:xfrm>
        <a:prstGeom prst="rect">
          <a:avLst/>
        </a:prstGeom>
        <a:solidFill>
          <a:schemeClr val="accent4">
            <a:hueOff val="1088988"/>
            <a:satOff val="-4531"/>
            <a:lumOff val="10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Data, Time, Purpose, Action</a:t>
          </a:r>
        </a:p>
      </dsp:txBody>
      <dsp:txXfrm>
        <a:off x="2018656" y="342627"/>
        <a:ext cx="1833041" cy="1099824"/>
      </dsp:txXfrm>
    </dsp:sp>
    <dsp:sp modelId="{5C697E60-6B33-4A76-A17C-F42AA1683517}">
      <dsp:nvSpPr>
        <dsp:cNvPr id="0" name=""/>
        <dsp:cNvSpPr/>
      </dsp:nvSpPr>
      <dsp:spPr>
        <a:xfrm>
          <a:off x="4035002" y="342627"/>
          <a:ext cx="1833041" cy="1099824"/>
        </a:xfrm>
        <a:prstGeom prst="rect">
          <a:avLst/>
        </a:prstGeom>
        <a:solidFill>
          <a:schemeClr val="accent4">
            <a:hueOff val="2177976"/>
            <a:satOff val="-9062"/>
            <a:lumOff val="21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Digital Log</a:t>
          </a:r>
        </a:p>
      </dsp:txBody>
      <dsp:txXfrm>
        <a:off x="4035002" y="342627"/>
        <a:ext cx="1833041" cy="1099824"/>
      </dsp:txXfrm>
    </dsp:sp>
    <dsp:sp modelId="{D2DE0E35-EAE2-4728-81C0-DF40F0564804}">
      <dsp:nvSpPr>
        <dsp:cNvPr id="0" name=""/>
        <dsp:cNvSpPr/>
      </dsp:nvSpPr>
      <dsp:spPr>
        <a:xfrm>
          <a:off x="6051347" y="342627"/>
          <a:ext cx="1833041" cy="1099824"/>
        </a:xfrm>
        <a:prstGeom prst="rect">
          <a:avLst/>
        </a:prstGeom>
        <a:solidFill>
          <a:schemeClr val="accent4">
            <a:hueOff val="3266964"/>
            <a:satOff val="-13592"/>
            <a:lumOff val="32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No Alteration of Evidence</a:t>
          </a:r>
        </a:p>
      </dsp:txBody>
      <dsp:txXfrm>
        <a:off x="6051347" y="342627"/>
        <a:ext cx="1833041" cy="1099824"/>
      </dsp:txXfrm>
    </dsp:sp>
    <dsp:sp modelId="{C6341B0D-F4E2-4E6A-91BC-EB5DE1E12549}">
      <dsp:nvSpPr>
        <dsp:cNvPr id="0" name=""/>
        <dsp:cNvSpPr/>
      </dsp:nvSpPr>
      <dsp:spPr>
        <a:xfrm>
          <a:off x="2310" y="1625756"/>
          <a:ext cx="1833041" cy="1099824"/>
        </a:xfrm>
        <a:prstGeom prst="rect">
          <a:avLst/>
        </a:prstGeom>
        <a:solidFill>
          <a:schemeClr val="accent4">
            <a:hueOff val="4355951"/>
            <a:satOff val="-18123"/>
            <a:lumOff val="42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Forensic Tools</a:t>
          </a:r>
        </a:p>
      </dsp:txBody>
      <dsp:txXfrm>
        <a:off x="2310" y="1625756"/>
        <a:ext cx="1833041" cy="1099824"/>
      </dsp:txXfrm>
    </dsp:sp>
    <dsp:sp modelId="{D7C3E8FF-0CC1-493E-A550-B68EAB1E5F47}">
      <dsp:nvSpPr>
        <dsp:cNvPr id="0" name=""/>
        <dsp:cNvSpPr/>
      </dsp:nvSpPr>
      <dsp:spPr>
        <a:xfrm>
          <a:off x="2018656" y="1625756"/>
          <a:ext cx="1833041" cy="1099824"/>
        </a:xfrm>
        <a:prstGeom prst="rect">
          <a:avLst/>
        </a:prstGeom>
        <a:solidFill>
          <a:schemeClr val="accent4">
            <a:hueOff val="5444940"/>
            <a:satOff val="-22654"/>
            <a:lumOff val="533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Secure Location</a:t>
          </a:r>
        </a:p>
      </dsp:txBody>
      <dsp:txXfrm>
        <a:off x="2018656" y="1625756"/>
        <a:ext cx="1833041" cy="1099824"/>
      </dsp:txXfrm>
    </dsp:sp>
    <dsp:sp modelId="{24AEA7F9-9293-4437-B49E-79BFDE02FFBF}">
      <dsp:nvSpPr>
        <dsp:cNvPr id="0" name=""/>
        <dsp:cNvSpPr/>
      </dsp:nvSpPr>
      <dsp:spPr>
        <a:xfrm>
          <a:off x="4035002" y="1625756"/>
          <a:ext cx="1833041" cy="1099824"/>
        </a:xfrm>
        <a:prstGeom prst="rect">
          <a:avLst/>
        </a:prstGeom>
        <a:solidFill>
          <a:schemeClr val="accent4">
            <a:hueOff val="6533927"/>
            <a:satOff val="-27185"/>
            <a:lumOff val="64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Write Blockers</a:t>
          </a:r>
        </a:p>
      </dsp:txBody>
      <dsp:txXfrm>
        <a:off x="4035002" y="1625756"/>
        <a:ext cx="1833041" cy="1099824"/>
      </dsp:txXfrm>
    </dsp:sp>
    <dsp:sp modelId="{0A8DA641-623A-453B-BFBE-10AC975833E9}">
      <dsp:nvSpPr>
        <dsp:cNvPr id="0" name=""/>
        <dsp:cNvSpPr/>
      </dsp:nvSpPr>
      <dsp:spPr>
        <a:xfrm>
          <a:off x="6051347" y="1625756"/>
          <a:ext cx="1833041" cy="1099824"/>
        </a:xfrm>
        <a:prstGeom prst="rect">
          <a:avLst/>
        </a:prstGeom>
        <a:solidFill>
          <a:schemeClr val="accent4">
            <a:hueOff val="7622915"/>
            <a:satOff val="-31715"/>
            <a:lumOff val="74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Documents</a:t>
          </a:r>
        </a:p>
      </dsp:txBody>
      <dsp:txXfrm>
        <a:off x="6051347" y="1625756"/>
        <a:ext cx="1833041" cy="1099824"/>
      </dsp:txXfrm>
    </dsp:sp>
    <dsp:sp modelId="{FDD7F0CF-F7C9-4EA9-90EB-B0B97051BCDC}">
      <dsp:nvSpPr>
        <dsp:cNvPr id="0" name=""/>
        <dsp:cNvSpPr/>
      </dsp:nvSpPr>
      <dsp:spPr>
        <a:xfrm>
          <a:off x="2018656" y="2908885"/>
          <a:ext cx="1833041" cy="1099824"/>
        </a:xfrm>
        <a:prstGeom prst="rect">
          <a:avLst/>
        </a:prstGeom>
        <a:solidFill>
          <a:schemeClr val="accent4">
            <a:hueOff val="8711903"/>
            <a:satOff val="-36246"/>
            <a:lumOff val="85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Anti-Static Bags</a:t>
          </a:r>
        </a:p>
      </dsp:txBody>
      <dsp:txXfrm>
        <a:off x="2018656" y="2908885"/>
        <a:ext cx="1833041" cy="1099824"/>
      </dsp:txXfrm>
    </dsp:sp>
    <dsp:sp modelId="{D742A440-4FC6-45C5-90B8-BF455743EBE7}">
      <dsp:nvSpPr>
        <dsp:cNvPr id="0" name=""/>
        <dsp:cNvSpPr/>
      </dsp:nvSpPr>
      <dsp:spPr>
        <a:xfrm>
          <a:off x="4035002" y="2908885"/>
          <a:ext cx="1833041" cy="1099824"/>
        </a:xfrm>
        <a:prstGeom prst="rect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Authorized Individuals</a:t>
          </a:r>
        </a:p>
      </dsp:txBody>
      <dsp:txXfrm>
        <a:off x="4035002" y="2908885"/>
        <a:ext cx="1833041" cy="109982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55422C-73FA-4EA2-8568-2951D8EE52CF}">
      <dsp:nvSpPr>
        <dsp:cNvPr id="0" name=""/>
        <dsp:cNvSpPr/>
      </dsp:nvSpPr>
      <dsp:spPr>
        <a:xfrm>
          <a:off x="0" y="0"/>
          <a:ext cx="4468786" cy="5152031"/>
        </a:xfrm>
        <a:prstGeom prst="triangle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268B9D8-A01A-4024-9B4E-CC4D82F6BADA}">
      <dsp:nvSpPr>
        <dsp:cNvPr id="0" name=""/>
        <dsp:cNvSpPr/>
      </dsp:nvSpPr>
      <dsp:spPr>
        <a:xfrm>
          <a:off x="2234393" y="515706"/>
          <a:ext cx="2904710" cy="457846"/>
        </a:xfrm>
        <a:prstGeom prst="roundRect">
          <a:avLst/>
        </a:prstGeom>
        <a:solidFill>
          <a:srgbClr val="7030A0">
            <a:alpha val="90000"/>
          </a:srgbClr>
        </a:solidFill>
        <a:ln w="63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Clear Business Objectives</a:t>
          </a:r>
        </a:p>
      </dsp:txBody>
      <dsp:txXfrm>
        <a:off x="2256743" y="538056"/>
        <a:ext cx="2860010" cy="413146"/>
      </dsp:txXfrm>
    </dsp:sp>
    <dsp:sp modelId="{EF8641BF-D823-4C46-85A5-C4FDE7368C85}">
      <dsp:nvSpPr>
        <dsp:cNvPr id="0" name=""/>
        <dsp:cNvSpPr/>
      </dsp:nvSpPr>
      <dsp:spPr>
        <a:xfrm>
          <a:off x="2234393" y="1030783"/>
          <a:ext cx="2904710" cy="457846"/>
        </a:xfrm>
        <a:prstGeom prst="roundRect">
          <a:avLst/>
        </a:prstGeom>
        <a:solidFill>
          <a:srgbClr val="002060">
            <a:alpha val="90000"/>
          </a:srgbClr>
        </a:solidFill>
        <a:ln w="6350" cap="flat" cmpd="sng" algn="ctr">
          <a:solidFill>
            <a:schemeClr val="accent2">
              <a:shade val="80000"/>
              <a:hueOff val="-68774"/>
              <a:satOff val="1452"/>
              <a:lumOff val="3869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Comprehensive Policy</a:t>
          </a:r>
        </a:p>
      </dsp:txBody>
      <dsp:txXfrm>
        <a:off x="2256743" y="1053133"/>
        <a:ext cx="2860010" cy="413146"/>
      </dsp:txXfrm>
    </dsp:sp>
    <dsp:sp modelId="{C48C0657-D6F1-427C-AAF3-CA4CEAFEC3CC}">
      <dsp:nvSpPr>
        <dsp:cNvPr id="0" name=""/>
        <dsp:cNvSpPr/>
      </dsp:nvSpPr>
      <dsp:spPr>
        <a:xfrm>
          <a:off x="2234393" y="1545860"/>
          <a:ext cx="2904710" cy="457846"/>
        </a:xfrm>
        <a:prstGeom prst="roundRect">
          <a:avLst/>
        </a:prstGeom>
        <a:solidFill>
          <a:srgbClr val="0070C0">
            <a:alpha val="90000"/>
          </a:srgbClr>
        </a:solidFill>
        <a:ln w="6350" cap="flat" cmpd="sng" algn="ctr">
          <a:solidFill>
            <a:schemeClr val="accent2">
              <a:shade val="80000"/>
              <a:hueOff val="-137547"/>
              <a:satOff val="2905"/>
              <a:lumOff val="7737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Evidence Collection</a:t>
          </a:r>
        </a:p>
      </dsp:txBody>
      <dsp:txXfrm>
        <a:off x="2256743" y="1568210"/>
        <a:ext cx="2860010" cy="413146"/>
      </dsp:txXfrm>
    </dsp:sp>
    <dsp:sp modelId="{D5C6CAE1-910D-4D6A-A152-26A2C59C9C0A}">
      <dsp:nvSpPr>
        <dsp:cNvPr id="0" name=""/>
        <dsp:cNvSpPr/>
      </dsp:nvSpPr>
      <dsp:spPr>
        <a:xfrm>
          <a:off x="2234393" y="2060938"/>
          <a:ext cx="2904710" cy="457846"/>
        </a:xfrm>
        <a:prstGeom prst="roundRect">
          <a:avLst/>
        </a:prstGeom>
        <a:solidFill>
          <a:srgbClr val="00B0F0">
            <a:alpha val="90000"/>
          </a:srgbClr>
        </a:solidFill>
        <a:ln w="6350" cap="flat" cmpd="sng" algn="ctr">
          <a:solidFill>
            <a:schemeClr val="accent2">
              <a:shade val="80000"/>
              <a:hueOff val="-206321"/>
              <a:satOff val="4357"/>
              <a:lumOff val="11606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Secure Storage</a:t>
          </a:r>
        </a:p>
      </dsp:txBody>
      <dsp:txXfrm>
        <a:off x="2256743" y="2083288"/>
        <a:ext cx="2860010" cy="413146"/>
      </dsp:txXfrm>
    </dsp:sp>
    <dsp:sp modelId="{FF820F3A-D7E7-4D7C-B7FC-D80A1B52E44E}">
      <dsp:nvSpPr>
        <dsp:cNvPr id="0" name=""/>
        <dsp:cNvSpPr/>
      </dsp:nvSpPr>
      <dsp:spPr>
        <a:xfrm>
          <a:off x="2234393" y="2576015"/>
          <a:ext cx="2904710" cy="457846"/>
        </a:xfrm>
        <a:prstGeom prst="roundRect">
          <a:avLst/>
        </a:prstGeom>
        <a:solidFill>
          <a:srgbClr val="00B050">
            <a:alpha val="90000"/>
          </a:srgbClr>
        </a:solidFill>
        <a:ln w="6350" cap="flat" cmpd="sng" algn="ctr">
          <a:solidFill>
            <a:schemeClr val="accent2">
              <a:shade val="80000"/>
              <a:hueOff val="-275094"/>
              <a:satOff val="5809"/>
              <a:lumOff val="15475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Chain of Custody</a:t>
          </a:r>
        </a:p>
      </dsp:txBody>
      <dsp:txXfrm>
        <a:off x="2256743" y="2598365"/>
        <a:ext cx="2860010" cy="413146"/>
      </dsp:txXfrm>
    </dsp:sp>
    <dsp:sp modelId="{0D872B58-6DA5-4271-95AA-FC6B8721BE13}">
      <dsp:nvSpPr>
        <dsp:cNvPr id="0" name=""/>
        <dsp:cNvSpPr/>
      </dsp:nvSpPr>
      <dsp:spPr>
        <a:xfrm>
          <a:off x="2234393" y="3091092"/>
          <a:ext cx="2904710" cy="457846"/>
        </a:xfrm>
        <a:prstGeom prst="roundRect">
          <a:avLst/>
        </a:prstGeom>
        <a:solidFill>
          <a:srgbClr val="92D050">
            <a:alpha val="90000"/>
          </a:srgbClr>
        </a:solidFill>
        <a:ln w="6350" cap="flat" cmpd="sng" algn="ctr">
          <a:solidFill>
            <a:schemeClr val="accent2">
              <a:shade val="80000"/>
              <a:hueOff val="-343868"/>
              <a:satOff val="7261"/>
              <a:lumOff val="19344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Regular Audit and Review</a:t>
          </a:r>
        </a:p>
      </dsp:txBody>
      <dsp:txXfrm>
        <a:off x="2256743" y="3113442"/>
        <a:ext cx="2860010" cy="413146"/>
      </dsp:txXfrm>
    </dsp:sp>
    <dsp:sp modelId="{A7F54210-628B-45F9-86F2-F90C8E99D79D}">
      <dsp:nvSpPr>
        <dsp:cNvPr id="0" name=""/>
        <dsp:cNvSpPr/>
      </dsp:nvSpPr>
      <dsp:spPr>
        <a:xfrm>
          <a:off x="2234393" y="3606170"/>
          <a:ext cx="2904710" cy="457846"/>
        </a:xfrm>
        <a:prstGeom prst="roundRect">
          <a:avLst/>
        </a:prstGeom>
        <a:solidFill>
          <a:srgbClr val="FFFF00">
            <a:alpha val="90000"/>
          </a:srgbClr>
        </a:solidFill>
        <a:ln w="6350" cap="flat" cmpd="sng" algn="ctr">
          <a:solidFill>
            <a:schemeClr val="accent2">
              <a:shade val="80000"/>
              <a:hueOff val="-412641"/>
              <a:satOff val="8714"/>
              <a:lumOff val="23212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Legal/Regulatory Awareness</a:t>
          </a:r>
        </a:p>
      </dsp:txBody>
      <dsp:txXfrm>
        <a:off x="2256743" y="3628520"/>
        <a:ext cx="2860010" cy="413146"/>
      </dsp:txXfrm>
    </dsp:sp>
    <dsp:sp modelId="{6C5930A6-65AD-4F23-96FC-CF68A0CA01DD}">
      <dsp:nvSpPr>
        <dsp:cNvPr id="0" name=""/>
        <dsp:cNvSpPr/>
      </dsp:nvSpPr>
      <dsp:spPr>
        <a:xfrm>
          <a:off x="2234393" y="4121247"/>
          <a:ext cx="2904710" cy="457846"/>
        </a:xfrm>
        <a:prstGeom prst="roundRect">
          <a:avLst/>
        </a:prstGeom>
        <a:solidFill>
          <a:srgbClr val="FFC000">
            <a:alpha val="90000"/>
          </a:srgbClr>
        </a:solidFill>
        <a:ln w="6350" cap="flat" cmpd="sng" algn="ctr">
          <a:solidFill>
            <a:schemeClr val="accent2">
              <a:shade val="80000"/>
              <a:hueOff val="-481415"/>
              <a:satOff val="10166"/>
              <a:lumOff val="27081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Incident Response Integration</a:t>
          </a:r>
        </a:p>
      </dsp:txBody>
      <dsp:txXfrm>
        <a:off x="2256743" y="4143597"/>
        <a:ext cx="2860010" cy="41314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8A26EA-8B3F-4E7E-8F5D-50BEA0AB144D}">
      <dsp:nvSpPr>
        <dsp:cNvPr id="0" name=""/>
        <dsp:cNvSpPr/>
      </dsp:nvSpPr>
      <dsp:spPr>
        <a:xfrm>
          <a:off x="468272" y="3745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Automated Data Analysis</a:t>
          </a:r>
          <a:endParaRPr lang="en-US" sz="2200" b="1" kern="1200" dirty="0"/>
        </a:p>
      </dsp:txBody>
      <dsp:txXfrm>
        <a:off x="468272" y="3745"/>
        <a:ext cx="2171923" cy="1303153"/>
      </dsp:txXfrm>
    </dsp:sp>
    <dsp:sp modelId="{339C0D75-0F1E-48C0-9A4A-C54588D1120A}">
      <dsp:nvSpPr>
        <dsp:cNvPr id="0" name=""/>
        <dsp:cNvSpPr/>
      </dsp:nvSpPr>
      <dsp:spPr>
        <a:xfrm>
          <a:off x="2857388" y="3745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5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5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5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Knowledge Presentation</a:t>
          </a:r>
          <a:endParaRPr lang="en-US" sz="2200" b="1" kern="1200" dirty="0"/>
        </a:p>
      </dsp:txBody>
      <dsp:txXfrm>
        <a:off x="2857388" y="3745"/>
        <a:ext cx="2171923" cy="1303153"/>
      </dsp:txXfrm>
    </dsp:sp>
    <dsp:sp modelId="{2FC375B3-C797-49CB-957D-105828A20BB7}">
      <dsp:nvSpPr>
        <dsp:cNvPr id="0" name=""/>
        <dsp:cNvSpPr/>
      </dsp:nvSpPr>
      <dsp:spPr>
        <a:xfrm>
          <a:off x="5246503" y="3745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10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10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1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Reasoning Process</a:t>
          </a:r>
          <a:endParaRPr lang="en-US" sz="2200" b="1" kern="1200" dirty="0"/>
        </a:p>
      </dsp:txBody>
      <dsp:txXfrm>
        <a:off x="5246503" y="3745"/>
        <a:ext cx="2171923" cy="1303153"/>
      </dsp:txXfrm>
    </dsp:sp>
    <dsp:sp modelId="{1021DD5B-A585-4417-9726-A5392B51E1AB}">
      <dsp:nvSpPr>
        <dsp:cNvPr id="0" name=""/>
        <dsp:cNvSpPr/>
      </dsp:nvSpPr>
      <dsp:spPr>
        <a:xfrm>
          <a:off x="468272" y="1524092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15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15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15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Knowledge Discovery</a:t>
          </a:r>
          <a:endParaRPr lang="en-US" sz="2200" b="1" kern="1200" dirty="0"/>
        </a:p>
      </dsp:txBody>
      <dsp:txXfrm>
        <a:off x="468272" y="1524092"/>
        <a:ext cx="2171923" cy="1303153"/>
      </dsp:txXfrm>
    </dsp:sp>
    <dsp:sp modelId="{7822B71C-5430-453A-B775-97D4040731B7}">
      <dsp:nvSpPr>
        <dsp:cNvPr id="0" name=""/>
        <dsp:cNvSpPr/>
      </dsp:nvSpPr>
      <dsp:spPr>
        <a:xfrm>
          <a:off x="2857388" y="1524092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20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20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2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Expert Systems</a:t>
          </a:r>
          <a:endParaRPr lang="en-US" sz="2200" b="1" kern="1200" dirty="0"/>
        </a:p>
      </dsp:txBody>
      <dsp:txXfrm>
        <a:off x="2857388" y="1524092"/>
        <a:ext cx="2171923" cy="1303153"/>
      </dsp:txXfrm>
    </dsp:sp>
    <dsp:sp modelId="{4E60C89A-26ED-4A90-8C90-A1DA25970499}">
      <dsp:nvSpPr>
        <dsp:cNvPr id="0" name=""/>
        <dsp:cNvSpPr/>
      </dsp:nvSpPr>
      <dsp:spPr>
        <a:xfrm>
          <a:off x="5246503" y="1524092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25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25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25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Recognizing Patterns</a:t>
          </a:r>
          <a:endParaRPr lang="en-US" sz="2200" b="1" kern="1200" dirty="0"/>
        </a:p>
      </dsp:txBody>
      <dsp:txXfrm>
        <a:off x="5246503" y="1524092"/>
        <a:ext cx="2171923" cy="1303153"/>
      </dsp:txXfrm>
    </dsp:sp>
    <dsp:sp modelId="{61573167-748A-4532-9C74-F9C7DE9690EA}">
      <dsp:nvSpPr>
        <dsp:cNvPr id="0" name=""/>
        <dsp:cNvSpPr/>
      </dsp:nvSpPr>
      <dsp:spPr>
        <a:xfrm>
          <a:off x="468272" y="3044438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30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30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3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Image and Video Analysis</a:t>
          </a:r>
          <a:endParaRPr lang="en-US" sz="2200" b="1" kern="1200" dirty="0"/>
        </a:p>
      </dsp:txBody>
      <dsp:txXfrm>
        <a:off x="468272" y="3044438"/>
        <a:ext cx="2171923" cy="1303153"/>
      </dsp:txXfrm>
    </dsp:sp>
    <dsp:sp modelId="{9751029D-D6FD-4056-A17C-CAE888B50E72}">
      <dsp:nvSpPr>
        <dsp:cNvPr id="0" name=""/>
        <dsp:cNvSpPr/>
      </dsp:nvSpPr>
      <dsp:spPr>
        <a:xfrm>
          <a:off x="2857388" y="3044438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35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35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35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Natural Language Processing (NLP)</a:t>
          </a:r>
          <a:endParaRPr lang="en-US" sz="2200" b="1" kern="1200" dirty="0"/>
        </a:p>
      </dsp:txBody>
      <dsp:txXfrm>
        <a:off x="2857388" y="3044438"/>
        <a:ext cx="2171923" cy="1303153"/>
      </dsp:txXfrm>
    </dsp:sp>
    <dsp:sp modelId="{9CCCF9C1-7887-4E24-9686-ADD613A8EB24}">
      <dsp:nvSpPr>
        <dsp:cNvPr id="0" name=""/>
        <dsp:cNvSpPr/>
      </dsp:nvSpPr>
      <dsp:spPr>
        <a:xfrm>
          <a:off x="5246503" y="3044438"/>
          <a:ext cx="2171923" cy="1303153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3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Predictive Analysis</a:t>
          </a:r>
        </a:p>
      </dsp:txBody>
      <dsp:txXfrm>
        <a:off x="5246503" y="3044438"/>
        <a:ext cx="2171923" cy="1303153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06F465-EE62-4D3C-B9A1-F6A89DCA49C3}">
      <dsp:nvSpPr>
        <dsp:cNvPr id="0" name=""/>
        <dsp:cNvSpPr/>
      </dsp:nvSpPr>
      <dsp:spPr>
        <a:xfrm>
          <a:off x="0" y="358106"/>
          <a:ext cx="1399760" cy="83985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Identify Crime Scene</a:t>
          </a:r>
        </a:p>
      </dsp:txBody>
      <dsp:txXfrm>
        <a:off x="0" y="358106"/>
        <a:ext cx="1399760" cy="839856"/>
      </dsp:txXfrm>
    </dsp:sp>
    <dsp:sp modelId="{B75FB45F-8198-462D-A1D2-07BDACE94F78}">
      <dsp:nvSpPr>
        <dsp:cNvPr id="0" name=""/>
        <dsp:cNvSpPr/>
      </dsp:nvSpPr>
      <dsp:spPr>
        <a:xfrm>
          <a:off x="1539736" y="358106"/>
          <a:ext cx="1399760" cy="83985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Protect Crime Scene</a:t>
          </a:r>
        </a:p>
      </dsp:txBody>
      <dsp:txXfrm>
        <a:off x="1539736" y="358106"/>
        <a:ext cx="1399760" cy="839856"/>
      </dsp:txXfrm>
    </dsp:sp>
    <dsp:sp modelId="{896CCADF-9B87-4BEA-84B8-873EF387CAA9}">
      <dsp:nvSpPr>
        <dsp:cNvPr id="0" name=""/>
        <dsp:cNvSpPr/>
      </dsp:nvSpPr>
      <dsp:spPr>
        <a:xfrm>
          <a:off x="3079473" y="358106"/>
          <a:ext cx="1399760" cy="83985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Preserve Temporary and Fragile Evidence</a:t>
          </a:r>
        </a:p>
      </dsp:txBody>
      <dsp:txXfrm>
        <a:off x="3079473" y="358106"/>
        <a:ext cx="1399760" cy="839856"/>
      </dsp:txXfrm>
    </dsp:sp>
    <dsp:sp modelId="{E8078652-5337-42C9-804A-57C7F3F56EE6}">
      <dsp:nvSpPr>
        <dsp:cNvPr id="0" name=""/>
        <dsp:cNvSpPr/>
      </dsp:nvSpPr>
      <dsp:spPr>
        <a:xfrm>
          <a:off x="0" y="1337939"/>
          <a:ext cx="1399760" cy="83985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Collect Information about Evidence</a:t>
          </a:r>
        </a:p>
      </dsp:txBody>
      <dsp:txXfrm>
        <a:off x="0" y="1337939"/>
        <a:ext cx="1399760" cy="839856"/>
      </dsp:txXfrm>
    </dsp:sp>
    <dsp:sp modelId="{73DC700F-520D-43E6-A443-3DE972355FC7}">
      <dsp:nvSpPr>
        <dsp:cNvPr id="0" name=""/>
        <dsp:cNvSpPr/>
      </dsp:nvSpPr>
      <dsp:spPr>
        <a:xfrm>
          <a:off x="1539736" y="1337939"/>
          <a:ext cx="1399760" cy="83985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Document All Finding</a:t>
          </a:r>
        </a:p>
      </dsp:txBody>
      <dsp:txXfrm>
        <a:off x="1539736" y="1337939"/>
        <a:ext cx="1399760" cy="839856"/>
      </dsp:txXfrm>
    </dsp:sp>
    <dsp:sp modelId="{C7444A67-E0E5-4031-BE1C-648D28EDD2AB}">
      <dsp:nvSpPr>
        <dsp:cNvPr id="0" name=""/>
        <dsp:cNvSpPr/>
      </dsp:nvSpPr>
      <dsp:spPr>
        <a:xfrm>
          <a:off x="3079473" y="1337939"/>
          <a:ext cx="1399760" cy="83985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Package and Transport Electronic Evidence</a:t>
          </a:r>
        </a:p>
      </dsp:txBody>
      <dsp:txXfrm>
        <a:off x="3079473" y="1337939"/>
        <a:ext cx="1399760" cy="839856"/>
      </dsp:txXfrm>
    </dsp:sp>
    <dsp:sp modelId="{BD2CA06F-BAED-4302-B734-F141DAA7C752}">
      <dsp:nvSpPr>
        <dsp:cNvPr id="0" name=""/>
        <dsp:cNvSpPr/>
      </dsp:nvSpPr>
      <dsp:spPr>
        <a:xfrm>
          <a:off x="1539736" y="2317771"/>
          <a:ext cx="1399760" cy="83985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</a:rPr>
            <a:t>Gather Preliminary Information from Crime Scene</a:t>
          </a:r>
        </a:p>
      </dsp:txBody>
      <dsp:txXfrm>
        <a:off x="1539736" y="2317771"/>
        <a:ext cx="1399760" cy="839856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4B93A2-987E-4C4F-9892-C9196639FE86}">
      <dsp:nvSpPr>
        <dsp:cNvPr id="0" name=""/>
        <dsp:cNvSpPr/>
      </dsp:nvSpPr>
      <dsp:spPr>
        <a:xfrm>
          <a:off x="0" y="344798"/>
          <a:ext cx="4982355" cy="2989413"/>
        </a:xfr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  <a:extLst>
            <a:ext uri="{C807C97D-BFC1-408E-A445-0C87EB9F89A2}">
              <ask:lineSketchStyleProps xmlns:ask="http://schemas.microsoft.com/office/drawing/2018/sketchyshapes">
                <ask:type>
                  <ask:lineSketchCurved/>
                </ask:type>
              </ask:lineSketchStyleProps>
            </a:ext>
          </a:extLst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b="1" kern="1200" dirty="0">
              <a:solidFill>
                <a:schemeClr val="bg1"/>
              </a:solidFill>
            </a:rPr>
            <a:t>Mistake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>
              <a:solidFill>
                <a:schemeClr val="bg1"/>
              </a:solidFill>
            </a:rPr>
            <a:t>Shutdown or Reboo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>
              <a:solidFill>
                <a:schemeClr val="bg1"/>
              </a:solidFill>
            </a:rPr>
            <a:t>Reliable or Usable Components of Computer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>
              <a:solidFill>
                <a:schemeClr val="bg1"/>
              </a:solidFill>
            </a:rPr>
            <a:t>Not Have Access to Computer Documentation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>
              <a:solidFill>
                <a:schemeClr val="bg1"/>
              </a:solidFill>
            </a:rPr>
            <a:t>Fail to Document or Data Collection</a:t>
          </a:r>
        </a:p>
      </dsp:txBody>
      <dsp:txXfrm>
        <a:off x="0" y="344798"/>
        <a:ext cx="4982355" cy="2989413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202B4B-D3F9-4E3C-B2CC-1F6BE435CB83}">
      <dsp:nvSpPr>
        <dsp:cNvPr id="0" name=""/>
        <dsp:cNvSpPr/>
      </dsp:nvSpPr>
      <dsp:spPr>
        <a:xfrm>
          <a:off x="454930" y="149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hotographer</a:t>
          </a:r>
        </a:p>
      </dsp:txBody>
      <dsp:txXfrm>
        <a:off x="454930" y="149"/>
        <a:ext cx="1454852" cy="443730"/>
      </dsp:txXfrm>
    </dsp:sp>
    <dsp:sp modelId="{0D3D5D96-76A1-4575-9D56-27BEFA35F07B}">
      <dsp:nvSpPr>
        <dsp:cNvPr id="0" name=""/>
        <dsp:cNvSpPr/>
      </dsp:nvSpPr>
      <dsp:spPr>
        <a:xfrm>
          <a:off x="454930" y="625736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cident Responder</a:t>
          </a:r>
        </a:p>
      </dsp:txBody>
      <dsp:txXfrm>
        <a:off x="454930" y="625736"/>
        <a:ext cx="1454852" cy="443730"/>
      </dsp:txXfrm>
    </dsp:sp>
    <dsp:sp modelId="{9DF8B708-70C5-473F-BDCA-29572D154352}">
      <dsp:nvSpPr>
        <dsp:cNvPr id="0" name=""/>
        <dsp:cNvSpPr/>
      </dsp:nvSpPr>
      <dsp:spPr>
        <a:xfrm>
          <a:off x="454930" y="1251322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cident Analyzer</a:t>
          </a:r>
        </a:p>
      </dsp:txBody>
      <dsp:txXfrm>
        <a:off x="454930" y="1251322"/>
        <a:ext cx="1454852" cy="443730"/>
      </dsp:txXfrm>
    </dsp:sp>
    <dsp:sp modelId="{0339D574-497F-4CBF-A1A6-F8F98EFE60A2}">
      <dsp:nvSpPr>
        <dsp:cNvPr id="0" name=""/>
        <dsp:cNvSpPr/>
      </dsp:nvSpPr>
      <dsp:spPr>
        <a:xfrm>
          <a:off x="454930" y="1876909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Evidence Examiner</a:t>
          </a:r>
        </a:p>
      </dsp:txBody>
      <dsp:txXfrm>
        <a:off x="454930" y="1876909"/>
        <a:ext cx="1454852" cy="443730"/>
      </dsp:txXfrm>
    </dsp:sp>
    <dsp:sp modelId="{15183B0B-FA8D-45B0-9B30-DA93B8E35B10}">
      <dsp:nvSpPr>
        <dsp:cNvPr id="0" name=""/>
        <dsp:cNvSpPr/>
      </dsp:nvSpPr>
      <dsp:spPr>
        <a:xfrm>
          <a:off x="454930" y="2502496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Evidence Documenter</a:t>
          </a:r>
        </a:p>
      </dsp:txBody>
      <dsp:txXfrm>
        <a:off x="454930" y="2502496"/>
        <a:ext cx="1454852" cy="443730"/>
      </dsp:txXfrm>
    </dsp:sp>
    <dsp:sp modelId="{B58C9616-FD97-4037-9E11-017E40CCEFF8}">
      <dsp:nvSpPr>
        <dsp:cNvPr id="0" name=""/>
        <dsp:cNvSpPr/>
      </dsp:nvSpPr>
      <dsp:spPr>
        <a:xfrm>
          <a:off x="454930" y="3128082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Evidence Manager</a:t>
          </a:r>
        </a:p>
      </dsp:txBody>
      <dsp:txXfrm>
        <a:off x="454930" y="3128082"/>
        <a:ext cx="1454852" cy="443730"/>
      </dsp:txXfrm>
    </dsp:sp>
    <dsp:sp modelId="{E5E5B8D5-4744-4862-97C1-765125937321}">
      <dsp:nvSpPr>
        <dsp:cNvPr id="0" name=""/>
        <dsp:cNvSpPr/>
      </dsp:nvSpPr>
      <dsp:spPr>
        <a:xfrm>
          <a:off x="454930" y="3753669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Evidence Witness</a:t>
          </a:r>
        </a:p>
      </dsp:txBody>
      <dsp:txXfrm>
        <a:off x="454930" y="3753669"/>
        <a:ext cx="1454852" cy="443730"/>
      </dsp:txXfrm>
    </dsp:sp>
    <dsp:sp modelId="{9EF3D1FA-E17E-4E19-B804-7FDE740D0FF3}">
      <dsp:nvSpPr>
        <dsp:cNvPr id="0" name=""/>
        <dsp:cNvSpPr/>
      </dsp:nvSpPr>
      <dsp:spPr>
        <a:xfrm>
          <a:off x="454930" y="4379256"/>
          <a:ext cx="1454852" cy="4437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ttorney</a:t>
          </a:r>
        </a:p>
      </dsp:txBody>
      <dsp:txXfrm>
        <a:off x="454930" y="4379256"/>
        <a:ext cx="1454852" cy="44373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366959-D76F-4A13-9415-0E9A5CC6B075}">
      <dsp:nvSpPr>
        <dsp:cNvPr id="0" name=""/>
        <dsp:cNvSpPr/>
      </dsp:nvSpPr>
      <dsp:spPr>
        <a:xfrm>
          <a:off x="0" y="127000"/>
          <a:ext cx="1904999" cy="114300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ase Background</a:t>
          </a:r>
        </a:p>
      </dsp:txBody>
      <dsp:txXfrm>
        <a:off x="278981" y="294388"/>
        <a:ext cx="1347037" cy="808224"/>
      </dsp:txXfrm>
    </dsp:sp>
    <dsp:sp modelId="{0E3ADD93-F9CB-43AE-BE33-FDCB52FC2F27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egal Considerations</a:t>
          </a:r>
        </a:p>
      </dsp:txBody>
      <dsp:txXfrm>
        <a:off x="2095500" y="127000"/>
        <a:ext cx="1904999" cy="1143000"/>
      </dsp:txXfrm>
    </dsp:sp>
    <dsp:sp modelId="{5922316A-715A-4EAB-B03A-2810692CA883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Available Resources</a:t>
          </a:r>
        </a:p>
      </dsp:txBody>
      <dsp:txXfrm>
        <a:off x="4191000" y="127000"/>
        <a:ext cx="1904999" cy="1143000"/>
      </dsp:txXfrm>
    </dsp:sp>
    <dsp:sp modelId="{7AC1052C-ED22-4786-8D12-DCFD78040927}">
      <dsp:nvSpPr>
        <dsp:cNvPr id="0" name=""/>
        <dsp:cNvSpPr/>
      </dsp:nvSpPr>
      <dsp:spPr>
        <a:xfrm>
          <a:off x="0" y="1460500"/>
          <a:ext cx="1904999" cy="1143000"/>
        </a:xfrm>
        <a:prstGeom prst="diamond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vidence Scope</a:t>
          </a:r>
        </a:p>
      </dsp:txBody>
      <dsp:txXfrm>
        <a:off x="476250" y="1746250"/>
        <a:ext cx="952499" cy="571500"/>
      </dsp:txXfrm>
    </dsp:sp>
    <dsp:sp modelId="{F514E1FB-DC82-40DD-9F05-2551BB508E76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hain of Custody</a:t>
          </a:r>
        </a:p>
      </dsp:txBody>
      <dsp:txXfrm>
        <a:off x="2095500" y="1460500"/>
        <a:ext cx="1904999" cy="1143000"/>
      </dsp:txXfrm>
    </dsp:sp>
    <dsp:sp modelId="{58E21AF1-5511-483F-9C3A-B13F028842FE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imelines and Priorities</a:t>
          </a:r>
        </a:p>
      </dsp:txBody>
      <dsp:txXfrm>
        <a:off x="4191000" y="1460500"/>
        <a:ext cx="1904999" cy="1143000"/>
      </dsp:txXfrm>
    </dsp:sp>
    <dsp:sp modelId="{1DCE241F-BBE8-489E-ACE5-7A47D7EDF30D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nalysis Strategy</a:t>
          </a:r>
        </a:p>
      </dsp:txBody>
      <dsp:txXfrm>
        <a:off x="2095500" y="2793999"/>
        <a:ext cx="1904999" cy="1143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09B49F-D1FA-4B99-83F2-CFD1DA311161}">
      <dsp:nvSpPr>
        <dsp:cNvPr id="0" name=""/>
        <dsp:cNvSpPr/>
      </dsp:nvSpPr>
      <dsp:spPr>
        <a:xfrm>
          <a:off x="1966537" y="0"/>
          <a:ext cx="2610183" cy="26103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Volatile Data</a:t>
          </a:r>
        </a:p>
      </dsp:txBody>
      <dsp:txXfrm>
        <a:off x="2348789" y="382279"/>
        <a:ext cx="1845679" cy="1845809"/>
      </dsp:txXfrm>
    </dsp:sp>
    <dsp:sp modelId="{2AE3DB09-20FA-44DF-B9E4-2B0EB018D79D}">
      <dsp:nvSpPr>
        <dsp:cNvPr id="0" name=""/>
        <dsp:cNvSpPr/>
      </dsp:nvSpPr>
      <dsp:spPr>
        <a:xfrm>
          <a:off x="3309979" y="1740970"/>
          <a:ext cx="2610183" cy="26103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Non-Volatile Data</a:t>
          </a:r>
        </a:p>
      </dsp:txBody>
      <dsp:txXfrm>
        <a:off x="3692231" y="2123249"/>
        <a:ext cx="1845679" cy="18458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2C0091-D969-4558-B8DA-74DFF461330F}">
      <dsp:nvSpPr>
        <dsp:cNvPr id="0" name=""/>
        <dsp:cNvSpPr/>
      </dsp:nvSpPr>
      <dsp:spPr>
        <a:xfrm>
          <a:off x="2310" y="342627"/>
          <a:ext cx="1833041" cy="109982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Proof of an Act</a:t>
          </a:r>
        </a:p>
      </dsp:txBody>
      <dsp:txXfrm>
        <a:off x="2310" y="342627"/>
        <a:ext cx="1833041" cy="1099824"/>
      </dsp:txXfrm>
    </dsp:sp>
    <dsp:sp modelId="{FB7F18AD-EB0F-4AFF-9C45-D98D51D992EA}">
      <dsp:nvSpPr>
        <dsp:cNvPr id="0" name=""/>
        <dsp:cNvSpPr/>
      </dsp:nvSpPr>
      <dsp:spPr>
        <a:xfrm>
          <a:off x="2018656" y="342627"/>
          <a:ext cx="1833041" cy="109982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Corroborative Evidence</a:t>
          </a:r>
        </a:p>
      </dsp:txBody>
      <dsp:txXfrm>
        <a:off x="2018656" y="342627"/>
        <a:ext cx="1833041" cy="1099824"/>
      </dsp:txXfrm>
    </dsp:sp>
    <dsp:sp modelId="{24E6BF6C-541B-4396-9949-CF45A13FFFB4}">
      <dsp:nvSpPr>
        <dsp:cNvPr id="0" name=""/>
        <dsp:cNvSpPr/>
      </dsp:nvSpPr>
      <dsp:spPr>
        <a:xfrm>
          <a:off x="4035002" y="342627"/>
          <a:ext cx="1833041" cy="109982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Contradictory Evidence</a:t>
          </a:r>
        </a:p>
      </dsp:txBody>
      <dsp:txXfrm>
        <a:off x="4035002" y="342627"/>
        <a:ext cx="1833041" cy="1099824"/>
      </dsp:txXfrm>
    </dsp:sp>
    <dsp:sp modelId="{168F3565-7741-4CFC-A8EE-A5CB1A337FBD}">
      <dsp:nvSpPr>
        <dsp:cNvPr id="0" name=""/>
        <dsp:cNvSpPr/>
      </dsp:nvSpPr>
      <dsp:spPr>
        <a:xfrm>
          <a:off x="6051347" y="342627"/>
          <a:ext cx="1833041" cy="109982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Linking Evidence</a:t>
          </a:r>
        </a:p>
      </dsp:txBody>
      <dsp:txXfrm>
        <a:off x="6051347" y="342627"/>
        <a:ext cx="1833041" cy="1099824"/>
      </dsp:txXfrm>
    </dsp:sp>
    <dsp:sp modelId="{0C52B8C4-02D4-426E-86CB-84077A71270F}">
      <dsp:nvSpPr>
        <dsp:cNvPr id="0" name=""/>
        <dsp:cNvSpPr/>
      </dsp:nvSpPr>
      <dsp:spPr>
        <a:xfrm>
          <a:off x="2310" y="1625756"/>
          <a:ext cx="1833041" cy="109982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Exculpatory Evidence</a:t>
          </a:r>
        </a:p>
      </dsp:txBody>
      <dsp:txXfrm>
        <a:off x="2310" y="1625756"/>
        <a:ext cx="1833041" cy="1099824"/>
      </dsp:txXfrm>
    </dsp:sp>
    <dsp:sp modelId="{12217ADE-50CE-4C05-9B64-D9078F5107DA}">
      <dsp:nvSpPr>
        <dsp:cNvPr id="0" name=""/>
        <dsp:cNvSpPr/>
      </dsp:nvSpPr>
      <dsp:spPr>
        <a:xfrm>
          <a:off x="2018656" y="1625756"/>
          <a:ext cx="1833041" cy="109982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Contextual Evidence</a:t>
          </a:r>
        </a:p>
      </dsp:txBody>
      <dsp:txXfrm>
        <a:off x="2018656" y="1625756"/>
        <a:ext cx="1833041" cy="1099824"/>
      </dsp:txXfrm>
    </dsp:sp>
    <dsp:sp modelId="{FCE0259D-5B0E-4930-A6BA-4A3ED79CE6E2}">
      <dsp:nvSpPr>
        <dsp:cNvPr id="0" name=""/>
        <dsp:cNvSpPr/>
      </dsp:nvSpPr>
      <dsp:spPr>
        <a:xfrm>
          <a:off x="4035002" y="1625756"/>
          <a:ext cx="1833041" cy="109982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Timeline Construction</a:t>
          </a:r>
        </a:p>
      </dsp:txBody>
      <dsp:txXfrm>
        <a:off x="4035002" y="1625756"/>
        <a:ext cx="1833041" cy="1099824"/>
      </dsp:txXfrm>
    </dsp:sp>
    <dsp:sp modelId="{E4D02184-ACE9-4439-8C6A-00AC71B43248}">
      <dsp:nvSpPr>
        <dsp:cNvPr id="0" name=""/>
        <dsp:cNvSpPr/>
      </dsp:nvSpPr>
      <dsp:spPr>
        <a:xfrm>
          <a:off x="6051347" y="1625756"/>
          <a:ext cx="1833041" cy="109982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Identity Verification</a:t>
          </a:r>
        </a:p>
      </dsp:txBody>
      <dsp:txXfrm>
        <a:off x="6051347" y="1625756"/>
        <a:ext cx="1833041" cy="1099824"/>
      </dsp:txXfrm>
    </dsp:sp>
    <dsp:sp modelId="{3057B0A7-594D-41F0-B236-95CD68C4F614}">
      <dsp:nvSpPr>
        <dsp:cNvPr id="0" name=""/>
        <dsp:cNvSpPr/>
      </dsp:nvSpPr>
      <dsp:spPr>
        <a:xfrm>
          <a:off x="2018656" y="2908885"/>
          <a:ext cx="1833041" cy="109982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Policy Verification</a:t>
          </a:r>
        </a:p>
      </dsp:txBody>
      <dsp:txXfrm>
        <a:off x="2018656" y="2908885"/>
        <a:ext cx="1833041" cy="1099824"/>
      </dsp:txXfrm>
    </dsp:sp>
    <dsp:sp modelId="{CBC8FC7E-E11C-4040-BE43-77FDE8E5A31D}">
      <dsp:nvSpPr>
        <dsp:cNvPr id="0" name=""/>
        <dsp:cNvSpPr/>
      </dsp:nvSpPr>
      <dsp:spPr>
        <a:xfrm>
          <a:off x="4035002" y="2908885"/>
          <a:ext cx="1833041" cy="109982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1"/>
              </a:solidFill>
            </a:rPr>
            <a:t>Compliance Verification</a:t>
          </a:r>
        </a:p>
      </dsp:txBody>
      <dsp:txXfrm>
        <a:off x="4035002" y="2908885"/>
        <a:ext cx="1833041" cy="10998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72BB1F-19CA-4C06-B117-9140C003DA74}">
      <dsp:nvSpPr>
        <dsp:cNvPr id="0" name=""/>
        <dsp:cNvSpPr/>
      </dsp:nvSpPr>
      <dsp:spPr>
        <a:xfrm>
          <a:off x="2681478" y="67644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Address Books</a:t>
          </a:r>
        </a:p>
      </dsp:txBody>
      <dsp:txXfrm>
        <a:off x="2681478" y="67644"/>
        <a:ext cx="1969749" cy="356400"/>
      </dsp:txXfrm>
    </dsp:sp>
    <dsp:sp modelId="{032FE700-B334-4CF2-A0EF-A791302724FB}">
      <dsp:nvSpPr>
        <dsp:cNvPr id="0" name=""/>
        <dsp:cNvSpPr/>
      </dsp:nvSpPr>
      <dsp:spPr>
        <a:xfrm>
          <a:off x="4651227" y="67644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978A6A-8182-4B15-8390-5C3A657E3F17}">
      <dsp:nvSpPr>
        <dsp:cNvPr id="0" name=""/>
        <dsp:cNvSpPr/>
      </dsp:nvSpPr>
      <dsp:spPr>
        <a:xfrm>
          <a:off x="2681478" y="488844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Database Files</a:t>
          </a:r>
        </a:p>
      </dsp:txBody>
      <dsp:txXfrm>
        <a:off x="2681478" y="488844"/>
        <a:ext cx="1969749" cy="356400"/>
      </dsp:txXfrm>
    </dsp:sp>
    <dsp:sp modelId="{B973D51A-AF0A-414F-A9FD-CD2B394FA840}">
      <dsp:nvSpPr>
        <dsp:cNvPr id="0" name=""/>
        <dsp:cNvSpPr/>
      </dsp:nvSpPr>
      <dsp:spPr>
        <a:xfrm>
          <a:off x="4651227" y="488844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B10DE1-0B3B-43C9-A47D-4638912760C4}">
      <dsp:nvSpPr>
        <dsp:cNvPr id="0" name=""/>
        <dsp:cNvSpPr/>
      </dsp:nvSpPr>
      <dsp:spPr>
        <a:xfrm>
          <a:off x="2681478" y="910044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Media Files</a:t>
          </a:r>
        </a:p>
      </dsp:txBody>
      <dsp:txXfrm>
        <a:off x="2681478" y="910044"/>
        <a:ext cx="1969749" cy="356400"/>
      </dsp:txXfrm>
    </dsp:sp>
    <dsp:sp modelId="{65B67C6C-BB99-408D-A80A-4F5875A1F9E5}">
      <dsp:nvSpPr>
        <dsp:cNvPr id="0" name=""/>
        <dsp:cNvSpPr/>
      </dsp:nvSpPr>
      <dsp:spPr>
        <a:xfrm>
          <a:off x="4651227" y="910044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661F2-0380-4C3F-907F-459DF0029B7A}">
      <dsp:nvSpPr>
        <dsp:cNvPr id="0" name=""/>
        <dsp:cNvSpPr/>
      </dsp:nvSpPr>
      <dsp:spPr>
        <a:xfrm>
          <a:off x="2681478" y="1331244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Document Files</a:t>
          </a:r>
        </a:p>
      </dsp:txBody>
      <dsp:txXfrm>
        <a:off x="2681478" y="1331244"/>
        <a:ext cx="1969749" cy="356400"/>
      </dsp:txXfrm>
    </dsp:sp>
    <dsp:sp modelId="{3C008E30-952D-477A-A7C4-E188B2F16691}">
      <dsp:nvSpPr>
        <dsp:cNvPr id="0" name=""/>
        <dsp:cNvSpPr/>
      </dsp:nvSpPr>
      <dsp:spPr>
        <a:xfrm>
          <a:off x="4651227" y="1331244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3FFE99-9875-46B7-82B6-1D26BCE2A868}">
      <dsp:nvSpPr>
        <dsp:cNvPr id="0" name=""/>
        <dsp:cNvSpPr/>
      </dsp:nvSpPr>
      <dsp:spPr>
        <a:xfrm>
          <a:off x="2681478" y="1752444"/>
          <a:ext cx="1969749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Internet Bookmarks</a:t>
          </a:r>
        </a:p>
      </dsp:txBody>
      <dsp:txXfrm>
        <a:off x="2681478" y="1752444"/>
        <a:ext cx="1969749" cy="601425"/>
      </dsp:txXfrm>
    </dsp:sp>
    <dsp:sp modelId="{B4AABB59-80D3-4288-9CFD-81A18F398B4D}">
      <dsp:nvSpPr>
        <dsp:cNvPr id="0" name=""/>
        <dsp:cNvSpPr/>
      </dsp:nvSpPr>
      <dsp:spPr>
        <a:xfrm>
          <a:off x="4651227" y="1752444"/>
          <a:ext cx="393949" cy="601425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F5E8DF-9072-4D43-9E12-C13FC6E6AAE9}">
      <dsp:nvSpPr>
        <dsp:cNvPr id="0" name=""/>
        <dsp:cNvSpPr/>
      </dsp:nvSpPr>
      <dsp:spPr>
        <a:xfrm>
          <a:off x="2681478" y="2418669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Internet Favorites</a:t>
          </a:r>
        </a:p>
      </dsp:txBody>
      <dsp:txXfrm>
        <a:off x="2681478" y="2418669"/>
        <a:ext cx="1969749" cy="356400"/>
      </dsp:txXfrm>
    </dsp:sp>
    <dsp:sp modelId="{77DFB957-C93D-4816-8A43-9BB8A905AD5E}">
      <dsp:nvSpPr>
        <dsp:cNvPr id="0" name=""/>
        <dsp:cNvSpPr/>
      </dsp:nvSpPr>
      <dsp:spPr>
        <a:xfrm>
          <a:off x="4651227" y="2418669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7D8D48-F576-49F2-9499-5E8F7569893F}">
      <dsp:nvSpPr>
        <dsp:cNvPr id="0" name=""/>
        <dsp:cNvSpPr/>
      </dsp:nvSpPr>
      <dsp:spPr>
        <a:xfrm>
          <a:off x="2681478" y="2839869"/>
          <a:ext cx="1971675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Emails</a:t>
          </a:r>
        </a:p>
      </dsp:txBody>
      <dsp:txXfrm>
        <a:off x="2681478" y="2839869"/>
        <a:ext cx="1971675" cy="356400"/>
      </dsp:txXfrm>
    </dsp:sp>
    <dsp:sp modelId="{F2CE16EF-A637-497F-90D9-F1FFF27DB7C8}">
      <dsp:nvSpPr>
        <dsp:cNvPr id="0" name=""/>
        <dsp:cNvSpPr/>
      </dsp:nvSpPr>
      <dsp:spPr>
        <a:xfrm>
          <a:off x="4653153" y="2839869"/>
          <a:ext cx="394335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F7CF1D-B438-479E-BEE4-E65476FFD884}">
      <dsp:nvSpPr>
        <dsp:cNvPr id="0" name=""/>
        <dsp:cNvSpPr/>
      </dsp:nvSpPr>
      <dsp:spPr>
        <a:xfrm>
          <a:off x="2681478" y="3261069"/>
          <a:ext cx="1969749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Cloud Storage Files</a:t>
          </a:r>
        </a:p>
      </dsp:txBody>
      <dsp:txXfrm>
        <a:off x="2681478" y="3261069"/>
        <a:ext cx="1969749" cy="601425"/>
      </dsp:txXfrm>
    </dsp:sp>
    <dsp:sp modelId="{ACF44DB1-F03F-46E1-8294-3C6BA75F725A}">
      <dsp:nvSpPr>
        <dsp:cNvPr id="0" name=""/>
        <dsp:cNvSpPr/>
      </dsp:nvSpPr>
      <dsp:spPr>
        <a:xfrm>
          <a:off x="4651227" y="3261069"/>
          <a:ext cx="393949" cy="601425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402DB2-5C46-4BBB-A979-C9D20FF01CB0}">
      <dsp:nvSpPr>
        <dsp:cNvPr id="0" name=""/>
        <dsp:cNvSpPr/>
      </dsp:nvSpPr>
      <dsp:spPr>
        <a:xfrm>
          <a:off x="2681478" y="3927294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FFFF00"/>
              </a:solidFill>
            </a:rPr>
            <a:t>Hidden Partitions</a:t>
          </a:r>
        </a:p>
      </dsp:txBody>
      <dsp:txXfrm>
        <a:off x="2681478" y="3927294"/>
        <a:ext cx="1969749" cy="356400"/>
      </dsp:txXfrm>
    </dsp:sp>
    <dsp:sp modelId="{5A5F0233-AFCD-4F90-ADCB-BDA174158972}">
      <dsp:nvSpPr>
        <dsp:cNvPr id="0" name=""/>
        <dsp:cNvSpPr/>
      </dsp:nvSpPr>
      <dsp:spPr>
        <a:xfrm>
          <a:off x="4651227" y="3927294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72BB1F-19CA-4C06-B117-9140C003DA74}">
      <dsp:nvSpPr>
        <dsp:cNvPr id="0" name=""/>
        <dsp:cNvSpPr/>
      </dsp:nvSpPr>
      <dsp:spPr>
        <a:xfrm>
          <a:off x="2682710" y="165294"/>
          <a:ext cx="1969749" cy="668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Compressed Files</a:t>
          </a:r>
        </a:p>
      </dsp:txBody>
      <dsp:txXfrm>
        <a:off x="2682710" y="165294"/>
        <a:ext cx="1969749" cy="668250"/>
      </dsp:txXfrm>
    </dsp:sp>
    <dsp:sp modelId="{032FE700-B334-4CF2-A0EF-A791302724FB}">
      <dsp:nvSpPr>
        <dsp:cNvPr id="0" name=""/>
        <dsp:cNvSpPr/>
      </dsp:nvSpPr>
      <dsp:spPr>
        <a:xfrm>
          <a:off x="4652459" y="165294"/>
          <a:ext cx="393949" cy="66825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73E3FD-3EE6-4238-A305-DAF1F02725E6}">
      <dsp:nvSpPr>
        <dsp:cNvPr id="0" name=""/>
        <dsp:cNvSpPr/>
      </dsp:nvSpPr>
      <dsp:spPr>
        <a:xfrm>
          <a:off x="2682710" y="905544"/>
          <a:ext cx="1969749" cy="396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Misnamed Files</a:t>
          </a:r>
        </a:p>
      </dsp:txBody>
      <dsp:txXfrm>
        <a:off x="2682710" y="905544"/>
        <a:ext cx="1969749" cy="396000"/>
      </dsp:txXfrm>
    </dsp:sp>
    <dsp:sp modelId="{99A0243F-B567-4F5E-9274-E1726918F13D}">
      <dsp:nvSpPr>
        <dsp:cNvPr id="0" name=""/>
        <dsp:cNvSpPr/>
      </dsp:nvSpPr>
      <dsp:spPr>
        <a:xfrm>
          <a:off x="4652459" y="905544"/>
          <a:ext cx="393949" cy="396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73762B-76A6-402B-90B5-B60487770CB2}">
      <dsp:nvSpPr>
        <dsp:cNvPr id="0" name=""/>
        <dsp:cNvSpPr/>
      </dsp:nvSpPr>
      <dsp:spPr>
        <a:xfrm>
          <a:off x="2682710" y="1373544"/>
          <a:ext cx="1969749" cy="396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Encrypted Files</a:t>
          </a:r>
        </a:p>
      </dsp:txBody>
      <dsp:txXfrm>
        <a:off x="2682710" y="1373544"/>
        <a:ext cx="1969749" cy="396000"/>
      </dsp:txXfrm>
    </dsp:sp>
    <dsp:sp modelId="{9E1E443A-11A1-473A-9976-DBFC21B30161}">
      <dsp:nvSpPr>
        <dsp:cNvPr id="0" name=""/>
        <dsp:cNvSpPr/>
      </dsp:nvSpPr>
      <dsp:spPr>
        <a:xfrm>
          <a:off x="4652459" y="1373544"/>
          <a:ext cx="393949" cy="396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12B484-A3CE-40D5-9CAE-264AD999959C}">
      <dsp:nvSpPr>
        <dsp:cNvPr id="0" name=""/>
        <dsp:cNvSpPr/>
      </dsp:nvSpPr>
      <dsp:spPr>
        <a:xfrm>
          <a:off x="2682710" y="1841544"/>
          <a:ext cx="1969749" cy="668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Password Protected Files</a:t>
          </a:r>
        </a:p>
      </dsp:txBody>
      <dsp:txXfrm>
        <a:off x="2682710" y="1841544"/>
        <a:ext cx="1969749" cy="668250"/>
      </dsp:txXfrm>
    </dsp:sp>
    <dsp:sp modelId="{7D331205-06BE-4CCA-B012-D80447811468}">
      <dsp:nvSpPr>
        <dsp:cNvPr id="0" name=""/>
        <dsp:cNvSpPr/>
      </dsp:nvSpPr>
      <dsp:spPr>
        <a:xfrm>
          <a:off x="4652459" y="1841544"/>
          <a:ext cx="393949" cy="66825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1D8076-5CD8-407D-B251-32CE2297497F}">
      <dsp:nvSpPr>
        <dsp:cNvPr id="0" name=""/>
        <dsp:cNvSpPr/>
      </dsp:nvSpPr>
      <dsp:spPr>
        <a:xfrm>
          <a:off x="2682710" y="2581794"/>
          <a:ext cx="1969749" cy="396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Hidden Files</a:t>
          </a:r>
        </a:p>
      </dsp:txBody>
      <dsp:txXfrm>
        <a:off x="2682710" y="2581794"/>
        <a:ext cx="1969749" cy="396000"/>
      </dsp:txXfrm>
    </dsp:sp>
    <dsp:sp modelId="{F2ED5A74-BE01-4BDB-B3F2-FA84B17248DB}">
      <dsp:nvSpPr>
        <dsp:cNvPr id="0" name=""/>
        <dsp:cNvSpPr/>
      </dsp:nvSpPr>
      <dsp:spPr>
        <a:xfrm>
          <a:off x="4652459" y="2581794"/>
          <a:ext cx="393949" cy="396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7390D5-4352-42AE-98F4-DCA0877A6EC2}">
      <dsp:nvSpPr>
        <dsp:cNvPr id="0" name=""/>
        <dsp:cNvSpPr/>
      </dsp:nvSpPr>
      <dsp:spPr>
        <a:xfrm>
          <a:off x="2682710" y="3049794"/>
          <a:ext cx="1969749" cy="396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Steganography</a:t>
          </a:r>
        </a:p>
      </dsp:txBody>
      <dsp:txXfrm>
        <a:off x="2682710" y="3049794"/>
        <a:ext cx="1969749" cy="396000"/>
      </dsp:txXfrm>
    </dsp:sp>
    <dsp:sp modelId="{EEA6916B-EDCE-4696-A3D1-676A00FB6E42}">
      <dsp:nvSpPr>
        <dsp:cNvPr id="0" name=""/>
        <dsp:cNvSpPr/>
      </dsp:nvSpPr>
      <dsp:spPr>
        <a:xfrm>
          <a:off x="4652459" y="3049794"/>
          <a:ext cx="393949" cy="396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633FDC-9D09-4E50-81B6-7F88EA339C2C}">
      <dsp:nvSpPr>
        <dsp:cNvPr id="0" name=""/>
        <dsp:cNvSpPr/>
      </dsp:nvSpPr>
      <dsp:spPr>
        <a:xfrm>
          <a:off x="2682710" y="3517794"/>
          <a:ext cx="1969749" cy="668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0800" rIns="14224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6">
                  <a:lumMod val="60000"/>
                  <a:lumOff val="40000"/>
                </a:schemeClr>
              </a:solidFill>
            </a:rPr>
            <a:t>Blockchain Ledgers</a:t>
          </a:r>
        </a:p>
      </dsp:txBody>
      <dsp:txXfrm>
        <a:off x="2682710" y="3517794"/>
        <a:ext cx="1969749" cy="668250"/>
      </dsp:txXfrm>
    </dsp:sp>
    <dsp:sp modelId="{2AAFF38D-CBD3-4118-BC74-983EE9A3DF15}">
      <dsp:nvSpPr>
        <dsp:cNvPr id="0" name=""/>
        <dsp:cNvSpPr/>
      </dsp:nvSpPr>
      <dsp:spPr>
        <a:xfrm>
          <a:off x="4652459" y="3517794"/>
          <a:ext cx="393949" cy="66825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E32989-58D7-428D-BE58-A47E7525CD65}">
      <dsp:nvSpPr>
        <dsp:cNvPr id="0" name=""/>
        <dsp:cNvSpPr/>
      </dsp:nvSpPr>
      <dsp:spPr>
        <a:xfrm>
          <a:off x="2681478" y="190156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Backup Files</a:t>
          </a:r>
        </a:p>
      </dsp:txBody>
      <dsp:txXfrm>
        <a:off x="2681478" y="190156"/>
        <a:ext cx="1969749" cy="356400"/>
      </dsp:txXfrm>
    </dsp:sp>
    <dsp:sp modelId="{5423442B-3412-4B69-A4F6-25232DBAE279}">
      <dsp:nvSpPr>
        <dsp:cNvPr id="0" name=""/>
        <dsp:cNvSpPr/>
      </dsp:nvSpPr>
      <dsp:spPr>
        <a:xfrm>
          <a:off x="4651227" y="190156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9D2CD-8595-407F-A571-DAA44025BC33}">
      <dsp:nvSpPr>
        <dsp:cNvPr id="0" name=""/>
        <dsp:cNvSpPr/>
      </dsp:nvSpPr>
      <dsp:spPr>
        <a:xfrm>
          <a:off x="2681478" y="611356"/>
          <a:ext cx="1971675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Log Files</a:t>
          </a:r>
        </a:p>
      </dsp:txBody>
      <dsp:txXfrm>
        <a:off x="2681478" y="611356"/>
        <a:ext cx="1971675" cy="356400"/>
      </dsp:txXfrm>
    </dsp:sp>
    <dsp:sp modelId="{264CCDEB-6DD2-4C1A-B6F5-F10F85DB4735}">
      <dsp:nvSpPr>
        <dsp:cNvPr id="0" name=""/>
        <dsp:cNvSpPr/>
      </dsp:nvSpPr>
      <dsp:spPr>
        <a:xfrm>
          <a:off x="4653153" y="611356"/>
          <a:ext cx="394335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71A4EA-E2E5-4012-9743-C1EFB7C7AD27}">
      <dsp:nvSpPr>
        <dsp:cNvPr id="0" name=""/>
        <dsp:cNvSpPr/>
      </dsp:nvSpPr>
      <dsp:spPr>
        <a:xfrm>
          <a:off x="2681478" y="1032556"/>
          <a:ext cx="1969749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Configuration Files</a:t>
          </a:r>
        </a:p>
      </dsp:txBody>
      <dsp:txXfrm>
        <a:off x="2681478" y="1032556"/>
        <a:ext cx="1969749" cy="601425"/>
      </dsp:txXfrm>
    </dsp:sp>
    <dsp:sp modelId="{0E97036A-DA29-4014-A50A-4E6221384590}">
      <dsp:nvSpPr>
        <dsp:cNvPr id="0" name=""/>
        <dsp:cNvSpPr/>
      </dsp:nvSpPr>
      <dsp:spPr>
        <a:xfrm>
          <a:off x="4651227" y="1032556"/>
          <a:ext cx="393949" cy="601425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79B202-FA18-4EF7-B6E2-70F7D6370C0A}">
      <dsp:nvSpPr>
        <dsp:cNvPr id="0" name=""/>
        <dsp:cNvSpPr/>
      </dsp:nvSpPr>
      <dsp:spPr>
        <a:xfrm>
          <a:off x="2681478" y="1698781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Printer Spool Files</a:t>
          </a:r>
        </a:p>
      </dsp:txBody>
      <dsp:txXfrm>
        <a:off x="2681478" y="1698781"/>
        <a:ext cx="1969749" cy="356400"/>
      </dsp:txXfrm>
    </dsp:sp>
    <dsp:sp modelId="{7C3525A4-ECB0-43C9-B764-BD533E465895}">
      <dsp:nvSpPr>
        <dsp:cNvPr id="0" name=""/>
        <dsp:cNvSpPr/>
      </dsp:nvSpPr>
      <dsp:spPr>
        <a:xfrm>
          <a:off x="4651227" y="1698781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26FBEC-8B3A-47E6-B941-98BB196C9518}">
      <dsp:nvSpPr>
        <dsp:cNvPr id="0" name=""/>
        <dsp:cNvSpPr/>
      </dsp:nvSpPr>
      <dsp:spPr>
        <a:xfrm>
          <a:off x="2681478" y="2119981"/>
          <a:ext cx="1971675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Cookies</a:t>
          </a:r>
        </a:p>
      </dsp:txBody>
      <dsp:txXfrm>
        <a:off x="2681478" y="2119981"/>
        <a:ext cx="1971675" cy="356400"/>
      </dsp:txXfrm>
    </dsp:sp>
    <dsp:sp modelId="{9457508B-7399-43CA-8799-B6B28F6628C3}">
      <dsp:nvSpPr>
        <dsp:cNvPr id="0" name=""/>
        <dsp:cNvSpPr/>
      </dsp:nvSpPr>
      <dsp:spPr>
        <a:xfrm>
          <a:off x="4653153" y="2119981"/>
          <a:ext cx="394335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6B55CE-B58A-4D6D-92D8-E1681BD11E88}">
      <dsp:nvSpPr>
        <dsp:cNvPr id="0" name=""/>
        <dsp:cNvSpPr/>
      </dsp:nvSpPr>
      <dsp:spPr>
        <a:xfrm>
          <a:off x="2681478" y="2541181"/>
          <a:ext cx="1971675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Swap Files</a:t>
          </a:r>
        </a:p>
      </dsp:txBody>
      <dsp:txXfrm>
        <a:off x="2681478" y="2541181"/>
        <a:ext cx="1971675" cy="356400"/>
      </dsp:txXfrm>
    </dsp:sp>
    <dsp:sp modelId="{B029E4EF-8A13-482B-8635-73AE42E62ECC}">
      <dsp:nvSpPr>
        <dsp:cNvPr id="0" name=""/>
        <dsp:cNvSpPr/>
      </dsp:nvSpPr>
      <dsp:spPr>
        <a:xfrm>
          <a:off x="4653153" y="2541181"/>
          <a:ext cx="394335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422ED-F6EC-48E1-8060-60DD16C19FBF}">
      <dsp:nvSpPr>
        <dsp:cNvPr id="0" name=""/>
        <dsp:cNvSpPr/>
      </dsp:nvSpPr>
      <dsp:spPr>
        <a:xfrm>
          <a:off x="2681478" y="2962381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System Files</a:t>
          </a:r>
        </a:p>
      </dsp:txBody>
      <dsp:txXfrm>
        <a:off x="2681478" y="2962381"/>
        <a:ext cx="1969749" cy="356400"/>
      </dsp:txXfrm>
    </dsp:sp>
    <dsp:sp modelId="{7916A46A-AA32-45EE-89E2-8FBABB69D72B}">
      <dsp:nvSpPr>
        <dsp:cNvPr id="0" name=""/>
        <dsp:cNvSpPr/>
      </dsp:nvSpPr>
      <dsp:spPr>
        <a:xfrm>
          <a:off x="4651227" y="2962381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CAA475-2BF9-4800-A14E-AE6FE4A0332B}">
      <dsp:nvSpPr>
        <dsp:cNvPr id="0" name=""/>
        <dsp:cNvSpPr/>
      </dsp:nvSpPr>
      <dsp:spPr>
        <a:xfrm>
          <a:off x="2681478" y="3383581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History Files</a:t>
          </a:r>
        </a:p>
      </dsp:txBody>
      <dsp:txXfrm>
        <a:off x="2681478" y="3383581"/>
        <a:ext cx="1969749" cy="356400"/>
      </dsp:txXfrm>
    </dsp:sp>
    <dsp:sp modelId="{565C631C-2527-4F8F-B9BA-ED2ED82CDF8B}">
      <dsp:nvSpPr>
        <dsp:cNvPr id="0" name=""/>
        <dsp:cNvSpPr/>
      </dsp:nvSpPr>
      <dsp:spPr>
        <a:xfrm>
          <a:off x="4651227" y="3383581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A917DA-6A89-4B99-81AD-8CFF1D424F05}">
      <dsp:nvSpPr>
        <dsp:cNvPr id="0" name=""/>
        <dsp:cNvSpPr/>
      </dsp:nvSpPr>
      <dsp:spPr>
        <a:xfrm>
          <a:off x="2681478" y="3804781"/>
          <a:ext cx="1969749" cy="35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B0F0"/>
              </a:solidFill>
            </a:rPr>
            <a:t>Temporary Files</a:t>
          </a:r>
        </a:p>
      </dsp:txBody>
      <dsp:txXfrm>
        <a:off x="2681478" y="3804781"/>
        <a:ext cx="1969749" cy="356400"/>
      </dsp:txXfrm>
    </dsp:sp>
    <dsp:sp modelId="{21632671-DE81-42BC-BA17-C9AD5CAB70BE}">
      <dsp:nvSpPr>
        <dsp:cNvPr id="0" name=""/>
        <dsp:cNvSpPr/>
      </dsp:nvSpPr>
      <dsp:spPr>
        <a:xfrm>
          <a:off x="4651227" y="3804781"/>
          <a:ext cx="393949" cy="356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613E11-1A4E-4A40-8219-532309AEF721}">
      <dsp:nvSpPr>
        <dsp:cNvPr id="0" name=""/>
        <dsp:cNvSpPr/>
      </dsp:nvSpPr>
      <dsp:spPr>
        <a:xfrm>
          <a:off x="0" y="531"/>
          <a:ext cx="3139482" cy="0"/>
        </a:xfrm>
        <a:prstGeom prst="lin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8C5FB9-F384-413D-8D07-5D392F831816}">
      <dsp:nvSpPr>
        <dsp:cNvPr id="0" name=""/>
        <dsp:cNvSpPr/>
      </dsp:nvSpPr>
      <dsp:spPr>
        <a:xfrm>
          <a:off x="0" y="531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Hard Drive</a:t>
          </a:r>
        </a:p>
      </dsp:txBody>
      <dsp:txXfrm>
        <a:off x="0" y="531"/>
        <a:ext cx="3139482" cy="483363"/>
      </dsp:txXfrm>
    </dsp:sp>
    <dsp:sp modelId="{40662C58-534B-4E9C-A938-D2EB538EB67A}">
      <dsp:nvSpPr>
        <dsp:cNvPr id="0" name=""/>
        <dsp:cNvSpPr/>
      </dsp:nvSpPr>
      <dsp:spPr>
        <a:xfrm>
          <a:off x="0" y="483895"/>
          <a:ext cx="3139482" cy="0"/>
        </a:xfrm>
        <a:prstGeom prst="line">
          <a:avLst/>
        </a:prstGeom>
        <a:solidFill>
          <a:schemeClr val="accent2">
            <a:shade val="80000"/>
            <a:hueOff val="-60177"/>
            <a:satOff val="1271"/>
            <a:lumOff val="3385"/>
            <a:alphaOff val="0"/>
          </a:schemeClr>
        </a:solidFill>
        <a:ln w="12700" cap="flat" cmpd="sng" algn="ctr">
          <a:solidFill>
            <a:schemeClr val="accent2">
              <a:shade val="80000"/>
              <a:hueOff val="-60177"/>
              <a:satOff val="1271"/>
              <a:lumOff val="33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AFBCC6-9D7D-4E60-9A6D-C0C84D7D010F}">
      <dsp:nvSpPr>
        <dsp:cNvPr id="0" name=""/>
        <dsp:cNvSpPr/>
      </dsp:nvSpPr>
      <dsp:spPr>
        <a:xfrm>
          <a:off x="0" y="483895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Memory Card</a:t>
          </a:r>
        </a:p>
      </dsp:txBody>
      <dsp:txXfrm>
        <a:off x="0" y="483895"/>
        <a:ext cx="3139482" cy="483363"/>
      </dsp:txXfrm>
    </dsp:sp>
    <dsp:sp modelId="{668FE664-BCCA-4C9C-9547-B9E50D230B08}">
      <dsp:nvSpPr>
        <dsp:cNvPr id="0" name=""/>
        <dsp:cNvSpPr/>
      </dsp:nvSpPr>
      <dsp:spPr>
        <a:xfrm>
          <a:off x="0" y="967259"/>
          <a:ext cx="3139482" cy="0"/>
        </a:xfrm>
        <a:prstGeom prst="line">
          <a:avLst/>
        </a:prstGeom>
        <a:solidFill>
          <a:schemeClr val="accent2">
            <a:shade val="80000"/>
            <a:hueOff val="-120354"/>
            <a:satOff val="2542"/>
            <a:lumOff val="6770"/>
            <a:alphaOff val="0"/>
          </a:schemeClr>
        </a:solidFill>
        <a:ln w="12700" cap="flat" cmpd="sng" algn="ctr">
          <a:solidFill>
            <a:schemeClr val="accent2">
              <a:shade val="80000"/>
              <a:hueOff val="-120354"/>
              <a:satOff val="2542"/>
              <a:lumOff val="677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1479C5-587D-44F0-A0A2-7A50986310B6}">
      <dsp:nvSpPr>
        <dsp:cNvPr id="0" name=""/>
        <dsp:cNvSpPr/>
      </dsp:nvSpPr>
      <dsp:spPr>
        <a:xfrm>
          <a:off x="0" y="967259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Smart Card</a:t>
          </a:r>
        </a:p>
      </dsp:txBody>
      <dsp:txXfrm>
        <a:off x="0" y="967259"/>
        <a:ext cx="3139482" cy="483363"/>
      </dsp:txXfrm>
    </dsp:sp>
    <dsp:sp modelId="{E0472A9B-C5E3-47BE-B15E-170D93D7F97F}">
      <dsp:nvSpPr>
        <dsp:cNvPr id="0" name=""/>
        <dsp:cNvSpPr/>
      </dsp:nvSpPr>
      <dsp:spPr>
        <a:xfrm>
          <a:off x="0" y="1450623"/>
          <a:ext cx="3139482" cy="0"/>
        </a:xfrm>
        <a:prstGeom prst="line">
          <a:avLst/>
        </a:prstGeom>
        <a:solidFill>
          <a:schemeClr val="accent2">
            <a:shade val="80000"/>
            <a:hueOff val="-180531"/>
            <a:satOff val="3812"/>
            <a:lumOff val="10155"/>
            <a:alphaOff val="0"/>
          </a:schemeClr>
        </a:solidFill>
        <a:ln w="12700" cap="flat" cmpd="sng" algn="ctr">
          <a:solidFill>
            <a:schemeClr val="accent2">
              <a:shade val="80000"/>
              <a:hueOff val="-180531"/>
              <a:satOff val="3812"/>
              <a:lumOff val="101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DA1E2C-6102-4EAC-A6E5-480A3E2A7122}">
      <dsp:nvSpPr>
        <dsp:cNvPr id="0" name=""/>
        <dsp:cNvSpPr/>
      </dsp:nvSpPr>
      <dsp:spPr>
        <a:xfrm>
          <a:off x="0" y="1450623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Dongle</a:t>
          </a:r>
        </a:p>
      </dsp:txBody>
      <dsp:txXfrm>
        <a:off x="0" y="1450623"/>
        <a:ext cx="3139482" cy="483363"/>
      </dsp:txXfrm>
    </dsp:sp>
    <dsp:sp modelId="{BF235504-AE42-421A-90B8-C154250BD188}">
      <dsp:nvSpPr>
        <dsp:cNvPr id="0" name=""/>
        <dsp:cNvSpPr/>
      </dsp:nvSpPr>
      <dsp:spPr>
        <a:xfrm>
          <a:off x="0" y="1933987"/>
          <a:ext cx="3139482" cy="0"/>
        </a:xfrm>
        <a:prstGeom prst="line">
          <a:avLst/>
        </a:prstGeom>
        <a:solidFill>
          <a:schemeClr val="accent2">
            <a:shade val="80000"/>
            <a:hueOff val="-240708"/>
            <a:satOff val="5083"/>
            <a:lumOff val="13541"/>
            <a:alphaOff val="0"/>
          </a:schemeClr>
        </a:solidFill>
        <a:ln w="12700" cap="flat" cmpd="sng" algn="ctr">
          <a:solidFill>
            <a:schemeClr val="accent2">
              <a:shade val="80000"/>
              <a:hueOff val="-240708"/>
              <a:satOff val="5083"/>
              <a:lumOff val="135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2DB451-A070-4053-A82F-6F8CF2D7F81D}">
      <dsp:nvSpPr>
        <dsp:cNvPr id="0" name=""/>
        <dsp:cNvSpPr/>
      </dsp:nvSpPr>
      <dsp:spPr>
        <a:xfrm>
          <a:off x="0" y="1933987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Biometric Scanner</a:t>
          </a:r>
        </a:p>
      </dsp:txBody>
      <dsp:txXfrm>
        <a:off x="0" y="1933987"/>
        <a:ext cx="3139482" cy="483363"/>
      </dsp:txXfrm>
    </dsp:sp>
    <dsp:sp modelId="{F32757C9-777C-48DB-9912-7F203B80EA22}">
      <dsp:nvSpPr>
        <dsp:cNvPr id="0" name=""/>
        <dsp:cNvSpPr/>
      </dsp:nvSpPr>
      <dsp:spPr>
        <a:xfrm>
          <a:off x="0" y="2417350"/>
          <a:ext cx="3139482" cy="0"/>
        </a:xfrm>
        <a:prstGeom prst="line">
          <a:avLst/>
        </a:prstGeom>
        <a:solidFill>
          <a:schemeClr val="accent2">
            <a:shade val="80000"/>
            <a:hueOff val="-300884"/>
            <a:satOff val="6354"/>
            <a:lumOff val="16926"/>
            <a:alphaOff val="0"/>
          </a:schemeClr>
        </a:solidFill>
        <a:ln w="12700" cap="flat" cmpd="sng" algn="ctr">
          <a:solidFill>
            <a:schemeClr val="accent2">
              <a:shade val="80000"/>
              <a:hueOff val="-300884"/>
              <a:satOff val="6354"/>
              <a:lumOff val="169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090D9F-21F5-48E4-B4E1-2FBD4D34AF2B}">
      <dsp:nvSpPr>
        <dsp:cNvPr id="0" name=""/>
        <dsp:cNvSpPr/>
      </dsp:nvSpPr>
      <dsp:spPr>
        <a:xfrm>
          <a:off x="0" y="2417350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Answering Machine</a:t>
          </a:r>
        </a:p>
      </dsp:txBody>
      <dsp:txXfrm>
        <a:off x="0" y="2417350"/>
        <a:ext cx="3139482" cy="483363"/>
      </dsp:txXfrm>
    </dsp:sp>
    <dsp:sp modelId="{430F8977-98D4-43B0-9C4A-79FB05016687}">
      <dsp:nvSpPr>
        <dsp:cNvPr id="0" name=""/>
        <dsp:cNvSpPr/>
      </dsp:nvSpPr>
      <dsp:spPr>
        <a:xfrm>
          <a:off x="0" y="2900714"/>
          <a:ext cx="3139482" cy="0"/>
        </a:xfrm>
        <a:prstGeom prst="line">
          <a:avLst/>
        </a:prstGeom>
        <a:solidFill>
          <a:schemeClr val="accent2">
            <a:shade val="80000"/>
            <a:hueOff val="-361061"/>
            <a:satOff val="7625"/>
            <a:lumOff val="20311"/>
            <a:alphaOff val="0"/>
          </a:schemeClr>
        </a:solidFill>
        <a:ln w="12700" cap="flat" cmpd="sng" algn="ctr">
          <a:solidFill>
            <a:schemeClr val="accent2">
              <a:shade val="80000"/>
              <a:hueOff val="-361061"/>
              <a:satOff val="7625"/>
              <a:lumOff val="2031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3F5F3B-30D6-4CBB-8C1D-CE69E614344D}">
      <dsp:nvSpPr>
        <dsp:cNvPr id="0" name=""/>
        <dsp:cNvSpPr/>
      </dsp:nvSpPr>
      <dsp:spPr>
        <a:xfrm>
          <a:off x="0" y="2900714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Digital Camera</a:t>
          </a:r>
        </a:p>
      </dsp:txBody>
      <dsp:txXfrm>
        <a:off x="0" y="2900714"/>
        <a:ext cx="3139482" cy="483363"/>
      </dsp:txXfrm>
    </dsp:sp>
    <dsp:sp modelId="{93CC04C2-EA83-4359-A59B-C282A7A12FD0}">
      <dsp:nvSpPr>
        <dsp:cNvPr id="0" name=""/>
        <dsp:cNvSpPr/>
      </dsp:nvSpPr>
      <dsp:spPr>
        <a:xfrm>
          <a:off x="0" y="3384078"/>
          <a:ext cx="3139482" cy="0"/>
        </a:xfrm>
        <a:prstGeom prst="line">
          <a:avLst/>
        </a:prstGeom>
        <a:solidFill>
          <a:schemeClr val="accent2">
            <a:shade val="80000"/>
            <a:hueOff val="-421238"/>
            <a:satOff val="8895"/>
            <a:lumOff val="23696"/>
            <a:alphaOff val="0"/>
          </a:schemeClr>
        </a:solidFill>
        <a:ln w="12700" cap="flat" cmpd="sng" algn="ctr">
          <a:solidFill>
            <a:schemeClr val="accent2">
              <a:shade val="80000"/>
              <a:hueOff val="-421238"/>
              <a:satOff val="8895"/>
              <a:lumOff val="236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15D15E-026E-4823-8A9B-AC5A9543872D}">
      <dsp:nvSpPr>
        <dsp:cNvPr id="0" name=""/>
        <dsp:cNvSpPr/>
      </dsp:nvSpPr>
      <dsp:spPr>
        <a:xfrm>
          <a:off x="0" y="3384078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CCTV Camera</a:t>
          </a:r>
        </a:p>
      </dsp:txBody>
      <dsp:txXfrm>
        <a:off x="0" y="3384078"/>
        <a:ext cx="3139482" cy="483363"/>
      </dsp:txXfrm>
    </dsp:sp>
    <dsp:sp modelId="{B7E54CA9-6DB8-4159-A63D-E5158433E125}">
      <dsp:nvSpPr>
        <dsp:cNvPr id="0" name=""/>
        <dsp:cNvSpPr/>
      </dsp:nvSpPr>
      <dsp:spPr>
        <a:xfrm>
          <a:off x="0" y="3867442"/>
          <a:ext cx="3139482" cy="0"/>
        </a:xfrm>
        <a:prstGeom prst="line">
          <a:avLst/>
        </a:prstGeom>
        <a:solidFill>
          <a:schemeClr val="accent2">
            <a:shade val="80000"/>
            <a:hueOff val="-481415"/>
            <a:satOff val="10166"/>
            <a:lumOff val="27081"/>
            <a:alphaOff val="0"/>
          </a:schemeClr>
        </a:solidFill>
        <a:ln w="12700" cap="flat" cmpd="sng" algn="ctr">
          <a:solidFill>
            <a:schemeClr val="accent2">
              <a:shade val="80000"/>
              <a:hueOff val="-481415"/>
              <a:satOff val="10166"/>
              <a:lumOff val="270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BA9587-1E90-4E0A-A74E-D9C5D961370F}">
      <dsp:nvSpPr>
        <dsp:cNvPr id="0" name=""/>
        <dsp:cNvSpPr/>
      </dsp:nvSpPr>
      <dsp:spPr>
        <a:xfrm>
          <a:off x="0" y="3867442"/>
          <a:ext cx="3139482" cy="483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rgbClr val="FF0000"/>
              </a:solidFill>
            </a:rPr>
            <a:t>RAM</a:t>
          </a:r>
        </a:p>
      </dsp:txBody>
      <dsp:txXfrm>
        <a:off x="0" y="3867442"/>
        <a:ext cx="3139482" cy="48336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613E11-1A4E-4A40-8219-532309AEF721}">
      <dsp:nvSpPr>
        <dsp:cNvPr id="0" name=""/>
        <dsp:cNvSpPr/>
      </dsp:nvSpPr>
      <dsp:spPr>
        <a:xfrm>
          <a:off x="0" y="0"/>
          <a:ext cx="3139482" cy="0"/>
        </a:xfrm>
        <a:prstGeom prst="lin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8C5FB9-F384-413D-8D07-5D392F831816}">
      <dsp:nvSpPr>
        <dsp:cNvPr id="0" name=""/>
        <dsp:cNvSpPr/>
      </dsp:nvSpPr>
      <dsp:spPr>
        <a:xfrm>
          <a:off x="0" y="0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Hand Held Devices</a:t>
          </a:r>
        </a:p>
      </dsp:txBody>
      <dsp:txXfrm>
        <a:off x="0" y="0"/>
        <a:ext cx="3139482" cy="543917"/>
      </dsp:txXfrm>
    </dsp:sp>
    <dsp:sp modelId="{839DA5D3-77C9-4A04-AB44-8EDB8581A22D}">
      <dsp:nvSpPr>
        <dsp:cNvPr id="0" name=""/>
        <dsp:cNvSpPr/>
      </dsp:nvSpPr>
      <dsp:spPr>
        <a:xfrm>
          <a:off x="0" y="543917"/>
          <a:ext cx="3139482" cy="0"/>
        </a:xfrm>
        <a:prstGeom prst="line">
          <a:avLst/>
        </a:prstGeom>
        <a:solidFill>
          <a:schemeClr val="accent2">
            <a:shade val="80000"/>
            <a:hueOff val="-68774"/>
            <a:satOff val="1452"/>
            <a:lumOff val="3869"/>
            <a:alphaOff val="0"/>
          </a:schemeClr>
        </a:solidFill>
        <a:ln w="12700" cap="flat" cmpd="sng" algn="ctr">
          <a:solidFill>
            <a:schemeClr val="accent2">
              <a:shade val="80000"/>
              <a:hueOff val="-68774"/>
              <a:satOff val="1452"/>
              <a:lumOff val="38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4C4D2E-AA40-401C-BC68-69CCB9E0E260}">
      <dsp:nvSpPr>
        <dsp:cNvPr id="0" name=""/>
        <dsp:cNvSpPr/>
      </dsp:nvSpPr>
      <dsp:spPr>
        <a:xfrm>
          <a:off x="0" y="543917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LAN/NIC Card</a:t>
          </a:r>
        </a:p>
      </dsp:txBody>
      <dsp:txXfrm>
        <a:off x="0" y="543917"/>
        <a:ext cx="3139482" cy="543917"/>
      </dsp:txXfrm>
    </dsp:sp>
    <dsp:sp modelId="{3CAD6677-297A-4111-AE4E-7A74D221769B}">
      <dsp:nvSpPr>
        <dsp:cNvPr id="0" name=""/>
        <dsp:cNvSpPr/>
      </dsp:nvSpPr>
      <dsp:spPr>
        <a:xfrm>
          <a:off x="0" y="1087834"/>
          <a:ext cx="3139482" cy="0"/>
        </a:xfrm>
        <a:prstGeom prst="line">
          <a:avLst/>
        </a:prstGeom>
        <a:solidFill>
          <a:schemeClr val="accent2">
            <a:shade val="80000"/>
            <a:hueOff val="-137547"/>
            <a:satOff val="2905"/>
            <a:lumOff val="7737"/>
            <a:alphaOff val="0"/>
          </a:schemeClr>
        </a:solidFill>
        <a:ln w="12700" cap="flat" cmpd="sng" algn="ctr">
          <a:solidFill>
            <a:schemeClr val="accent2">
              <a:shade val="80000"/>
              <a:hueOff val="-137547"/>
              <a:satOff val="2905"/>
              <a:lumOff val="77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914233-10FB-431C-88B2-335E8920AA9C}">
      <dsp:nvSpPr>
        <dsp:cNvPr id="0" name=""/>
        <dsp:cNvSpPr/>
      </dsp:nvSpPr>
      <dsp:spPr>
        <a:xfrm>
          <a:off x="0" y="1087834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Router/Modem/Hub/Switch</a:t>
          </a:r>
        </a:p>
      </dsp:txBody>
      <dsp:txXfrm>
        <a:off x="0" y="1087834"/>
        <a:ext cx="3139482" cy="543917"/>
      </dsp:txXfrm>
    </dsp:sp>
    <dsp:sp modelId="{23E95CCC-6287-43BA-AE77-463F0FB29E0F}">
      <dsp:nvSpPr>
        <dsp:cNvPr id="0" name=""/>
        <dsp:cNvSpPr/>
      </dsp:nvSpPr>
      <dsp:spPr>
        <a:xfrm>
          <a:off x="0" y="1631751"/>
          <a:ext cx="3139482" cy="0"/>
        </a:xfrm>
        <a:prstGeom prst="line">
          <a:avLst/>
        </a:prstGeom>
        <a:solidFill>
          <a:schemeClr val="accent2">
            <a:shade val="80000"/>
            <a:hueOff val="-206321"/>
            <a:satOff val="4357"/>
            <a:lumOff val="11606"/>
            <a:alphaOff val="0"/>
          </a:schemeClr>
        </a:solidFill>
        <a:ln w="12700" cap="flat" cmpd="sng" algn="ctr">
          <a:solidFill>
            <a:schemeClr val="accent2">
              <a:shade val="80000"/>
              <a:hueOff val="-206321"/>
              <a:satOff val="4357"/>
              <a:lumOff val="116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57448F-903F-4E10-8298-8B7FB8B5D9B1}">
      <dsp:nvSpPr>
        <dsp:cNvPr id="0" name=""/>
        <dsp:cNvSpPr/>
      </dsp:nvSpPr>
      <dsp:spPr>
        <a:xfrm>
          <a:off x="0" y="1631751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Server</a:t>
          </a:r>
        </a:p>
      </dsp:txBody>
      <dsp:txXfrm>
        <a:off x="0" y="1631751"/>
        <a:ext cx="3139482" cy="543917"/>
      </dsp:txXfrm>
    </dsp:sp>
    <dsp:sp modelId="{502E9251-CA31-4EB4-8C13-ED700E4018AE}">
      <dsp:nvSpPr>
        <dsp:cNvPr id="0" name=""/>
        <dsp:cNvSpPr/>
      </dsp:nvSpPr>
      <dsp:spPr>
        <a:xfrm>
          <a:off x="0" y="2175669"/>
          <a:ext cx="3139482" cy="0"/>
        </a:xfrm>
        <a:prstGeom prst="line">
          <a:avLst/>
        </a:prstGeom>
        <a:solidFill>
          <a:schemeClr val="accent2">
            <a:shade val="80000"/>
            <a:hueOff val="-275094"/>
            <a:satOff val="5809"/>
            <a:lumOff val="15475"/>
            <a:alphaOff val="0"/>
          </a:schemeClr>
        </a:solidFill>
        <a:ln w="12700" cap="flat" cmpd="sng" algn="ctr">
          <a:solidFill>
            <a:schemeClr val="accent2">
              <a:shade val="80000"/>
              <a:hueOff val="-275094"/>
              <a:satOff val="5809"/>
              <a:lumOff val="1547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C55B9F-F1DB-49AB-AA53-E2C7657E6DA0}">
      <dsp:nvSpPr>
        <dsp:cNvPr id="0" name=""/>
        <dsp:cNvSpPr/>
      </dsp:nvSpPr>
      <dsp:spPr>
        <a:xfrm>
          <a:off x="0" y="2175669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Printer</a:t>
          </a:r>
        </a:p>
      </dsp:txBody>
      <dsp:txXfrm>
        <a:off x="0" y="2175669"/>
        <a:ext cx="3139482" cy="543917"/>
      </dsp:txXfrm>
    </dsp:sp>
    <dsp:sp modelId="{F959A51D-9617-460C-AF52-B44FD8979BDF}">
      <dsp:nvSpPr>
        <dsp:cNvPr id="0" name=""/>
        <dsp:cNvSpPr/>
      </dsp:nvSpPr>
      <dsp:spPr>
        <a:xfrm>
          <a:off x="0" y="2719586"/>
          <a:ext cx="3139482" cy="0"/>
        </a:xfrm>
        <a:prstGeom prst="line">
          <a:avLst/>
        </a:prstGeom>
        <a:solidFill>
          <a:schemeClr val="accent2">
            <a:shade val="80000"/>
            <a:hueOff val="-343868"/>
            <a:satOff val="7261"/>
            <a:lumOff val="19344"/>
            <a:alphaOff val="0"/>
          </a:schemeClr>
        </a:solidFill>
        <a:ln w="12700" cap="flat" cmpd="sng" algn="ctr">
          <a:solidFill>
            <a:schemeClr val="accent2">
              <a:shade val="80000"/>
              <a:hueOff val="-343868"/>
              <a:satOff val="7261"/>
              <a:lumOff val="193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A46BE5-7CE4-402E-B748-6E76078D495A}">
      <dsp:nvSpPr>
        <dsp:cNvPr id="0" name=""/>
        <dsp:cNvSpPr/>
      </dsp:nvSpPr>
      <dsp:spPr>
        <a:xfrm>
          <a:off x="0" y="2719586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IoT Wearable</a:t>
          </a:r>
        </a:p>
      </dsp:txBody>
      <dsp:txXfrm>
        <a:off x="0" y="2719586"/>
        <a:ext cx="3139482" cy="543917"/>
      </dsp:txXfrm>
    </dsp:sp>
    <dsp:sp modelId="{8165057E-86F2-4AAB-B5CE-1B0321E37176}">
      <dsp:nvSpPr>
        <dsp:cNvPr id="0" name=""/>
        <dsp:cNvSpPr/>
      </dsp:nvSpPr>
      <dsp:spPr>
        <a:xfrm>
          <a:off x="0" y="3263503"/>
          <a:ext cx="3139482" cy="0"/>
        </a:xfrm>
        <a:prstGeom prst="line">
          <a:avLst/>
        </a:prstGeom>
        <a:solidFill>
          <a:schemeClr val="accent2">
            <a:shade val="80000"/>
            <a:hueOff val="-412641"/>
            <a:satOff val="8714"/>
            <a:lumOff val="23212"/>
            <a:alphaOff val="0"/>
          </a:schemeClr>
        </a:solidFill>
        <a:ln w="12700" cap="flat" cmpd="sng" algn="ctr">
          <a:solidFill>
            <a:schemeClr val="accent2">
              <a:shade val="80000"/>
              <a:hueOff val="-412641"/>
              <a:satOff val="8714"/>
              <a:lumOff val="2321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AD41C6-7E9E-4070-BDFF-695C6743D77F}">
      <dsp:nvSpPr>
        <dsp:cNvPr id="0" name=""/>
        <dsp:cNvSpPr/>
      </dsp:nvSpPr>
      <dsp:spPr>
        <a:xfrm>
          <a:off x="0" y="3263503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GPS</a:t>
          </a:r>
        </a:p>
      </dsp:txBody>
      <dsp:txXfrm>
        <a:off x="0" y="3263503"/>
        <a:ext cx="3139482" cy="543917"/>
      </dsp:txXfrm>
    </dsp:sp>
    <dsp:sp modelId="{CE7CFFAD-DBB8-47A2-B3D7-64993A2EBFD4}">
      <dsp:nvSpPr>
        <dsp:cNvPr id="0" name=""/>
        <dsp:cNvSpPr/>
      </dsp:nvSpPr>
      <dsp:spPr>
        <a:xfrm>
          <a:off x="0" y="3807420"/>
          <a:ext cx="3139482" cy="0"/>
        </a:xfrm>
        <a:prstGeom prst="line">
          <a:avLst/>
        </a:prstGeom>
        <a:solidFill>
          <a:schemeClr val="accent2">
            <a:shade val="80000"/>
            <a:hueOff val="-481415"/>
            <a:satOff val="10166"/>
            <a:lumOff val="27081"/>
            <a:alphaOff val="0"/>
          </a:schemeClr>
        </a:solidFill>
        <a:ln w="12700" cap="flat" cmpd="sng" algn="ctr">
          <a:solidFill>
            <a:schemeClr val="accent2">
              <a:shade val="80000"/>
              <a:hueOff val="-481415"/>
              <a:satOff val="10166"/>
              <a:lumOff val="270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719BAF-3EA1-463B-AE54-B8FDF0D5DAF3}">
      <dsp:nvSpPr>
        <dsp:cNvPr id="0" name=""/>
        <dsp:cNvSpPr/>
      </dsp:nvSpPr>
      <dsp:spPr>
        <a:xfrm>
          <a:off x="0" y="3807420"/>
          <a:ext cx="3139482" cy="54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00"/>
              </a:solidFill>
            </a:rPr>
            <a:t>Telephone</a:t>
          </a:r>
        </a:p>
      </dsp:txBody>
      <dsp:txXfrm>
        <a:off x="0" y="3807420"/>
        <a:ext cx="3139482" cy="54391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613E11-1A4E-4A40-8219-532309AEF721}">
      <dsp:nvSpPr>
        <dsp:cNvPr id="0" name=""/>
        <dsp:cNvSpPr/>
      </dsp:nvSpPr>
      <dsp:spPr>
        <a:xfrm>
          <a:off x="0" y="645"/>
          <a:ext cx="4506058" cy="0"/>
        </a:xfrm>
        <a:prstGeom prst="lin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8C5FB9-F384-413D-8D07-5D392F831816}">
      <dsp:nvSpPr>
        <dsp:cNvPr id="0" name=""/>
        <dsp:cNvSpPr/>
      </dsp:nvSpPr>
      <dsp:spPr>
        <a:xfrm>
          <a:off x="0" y="645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Credit Card Skimmers</a:t>
          </a:r>
        </a:p>
      </dsp:txBody>
      <dsp:txXfrm>
        <a:off x="0" y="645"/>
        <a:ext cx="4506058" cy="528578"/>
      </dsp:txXfrm>
    </dsp:sp>
    <dsp:sp modelId="{74F3D412-6B72-4B6C-A576-86DA9CA7E864}">
      <dsp:nvSpPr>
        <dsp:cNvPr id="0" name=""/>
        <dsp:cNvSpPr/>
      </dsp:nvSpPr>
      <dsp:spPr>
        <a:xfrm>
          <a:off x="0" y="529223"/>
          <a:ext cx="4506058" cy="0"/>
        </a:xfrm>
        <a:prstGeom prst="line">
          <a:avLst/>
        </a:prstGeom>
        <a:solidFill>
          <a:schemeClr val="accent2">
            <a:shade val="80000"/>
            <a:hueOff val="-53491"/>
            <a:satOff val="1130"/>
            <a:lumOff val="3009"/>
            <a:alphaOff val="0"/>
          </a:schemeClr>
        </a:solidFill>
        <a:ln w="12700" cap="flat" cmpd="sng" algn="ctr">
          <a:solidFill>
            <a:schemeClr val="accent2">
              <a:shade val="80000"/>
              <a:hueOff val="-53491"/>
              <a:satOff val="1130"/>
              <a:lumOff val="300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F6FDEF-DB0E-4BBC-A35A-17878BB8A802}">
      <dsp:nvSpPr>
        <dsp:cNvPr id="0" name=""/>
        <dsp:cNvSpPr/>
      </dsp:nvSpPr>
      <dsp:spPr>
        <a:xfrm>
          <a:off x="0" y="529223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Digital Watches</a:t>
          </a:r>
        </a:p>
      </dsp:txBody>
      <dsp:txXfrm>
        <a:off x="0" y="529223"/>
        <a:ext cx="4506058" cy="528578"/>
      </dsp:txXfrm>
    </dsp:sp>
    <dsp:sp modelId="{7DA6B928-9B12-48F0-B9F7-C06C520E131D}">
      <dsp:nvSpPr>
        <dsp:cNvPr id="0" name=""/>
        <dsp:cNvSpPr/>
      </dsp:nvSpPr>
      <dsp:spPr>
        <a:xfrm>
          <a:off x="0" y="1057801"/>
          <a:ext cx="4506058" cy="0"/>
        </a:xfrm>
        <a:prstGeom prst="line">
          <a:avLst/>
        </a:prstGeom>
        <a:solidFill>
          <a:schemeClr val="accent2">
            <a:shade val="80000"/>
            <a:hueOff val="-106981"/>
            <a:satOff val="2259"/>
            <a:lumOff val="6018"/>
            <a:alphaOff val="0"/>
          </a:schemeClr>
        </a:solidFill>
        <a:ln w="12700" cap="flat" cmpd="sng" algn="ctr">
          <a:solidFill>
            <a:schemeClr val="accent2">
              <a:shade val="80000"/>
              <a:hueOff val="-106981"/>
              <a:satOff val="2259"/>
              <a:lumOff val="6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91D562-EF9A-49D5-A15D-E4A93C3641FA}">
      <dsp:nvSpPr>
        <dsp:cNvPr id="0" name=""/>
        <dsp:cNvSpPr/>
      </dsp:nvSpPr>
      <dsp:spPr>
        <a:xfrm>
          <a:off x="0" y="1057801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VoIP (SKYPE, Teams, Zoom)</a:t>
          </a:r>
        </a:p>
      </dsp:txBody>
      <dsp:txXfrm>
        <a:off x="0" y="1057801"/>
        <a:ext cx="4506058" cy="528578"/>
      </dsp:txXfrm>
    </dsp:sp>
    <dsp:sp modelId="{C3E0CC68-9675-4B22-BA5F-EB9715ED6E55}">
      <dsp:nvSpPr>
        <dsp:cNvPr id="0" name=""/>
        <dsp:cNvSpPr/>
      </dsp:nvSpPr>
      <dsp:spPr>
        <a:xfrm>
          <a:off x="0" y="1586379"/>
          <a:ext cx="4506058" cy="0"/>
        </a:xfrm>
        <a:prstGeom prst="line">
          <a:avLst/>
        </a:prstGeom>
        <a:solidFill>
          <a:schemeClr val="accent2">
            <a:shade val="80000"/>
            <a:hueOff val="-160472"/>
            <a:satOff val="3389"/>
            <a:lumOff val="9027"/>
            <a:alphaOff val="0"/>
          </a:schemeClr>
        </a:solidFill>
        <a:ln w="12700" cap="flat" cmpd="sng" algn="ctr">
          <a:solidFill>
            <a:schemeClr val="accent2">
              <a:shade val="80000"/>
              <a:hueOff val="-160472"/>
              <a:satOff val="3389"/>
              <a:lumOff val="902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3013BF-CF4F-45B7-89E1-982BD714B1C5}">
      <dsp:nvSpPr>
        <dsp:cNvPr id="0" name=""/>
        <dsp:cNvSpPr/>
      </dsp:nvSpPr>
      <dsp:spPr>
        <a:xfrm>
          <a:off x="0" y="1586379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Databases</a:t>
          </a:r>
        </a:p>
      </dsp:txBody>
      <dsp:txXfrm>
        <a:off x="0" y="1586379"/>
        <a:ext cx="4506058" cy="528578"/>
      </dsp:txXfrm>
    </dsp:sp>
    <dsp:sp modelId="{10491E28-78D8-4FDE-94F8-514589829ECC}">
      <dsp:nvSpPr>
        <dsp:cNvPr id="0" name=""/>
        <dsp:cNvSpPr/>
      </dsp:nvSpPr>
      <dsp:spPr>
        <a:xfrm>
          <a:off x="0" y="2114957"/>
          <a:ext cx="4506058" cy="0"/>
        </a:xfrm>
        <a:prstGeom prst="line">
          <a:avLst/>
        </a:prstGeom>
        <a:solidFill>
          <a:schemeClr val="accent2">
            <a:shade val="80000"/>
            <a:hueOff val="-213962"/>
            <a:satOff val="4518"/>
            <a:lumOff val="12036"/>
            <a:alphaOff val="0"/>
          </a:schemeClr>
        </a:solidFill>
        <a:ln w="12700" cap="flat" cmpd="sng" algn="ctr">
          <a:solidFill>
            <a:schemeClr val="accent2">
              <a:shade val="80000"/>
              <a:hueOff val="-213962"/>
              <a:satOff val="4518"/>
              <a:lumOff val="1203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48AC61-3C52-452C-99E4-4F47761B0478}">
      <dsp:nvSpPr>
        <dsp:cNvPr id="0" name=""/>
        <dsp:cNvSpPr/>
      </dsp:nvSpPr>
      <dsp:spPr>
        <a:xfrm>
          <a:off x="0" y="2114957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Web Based Platform (Forms, E-Commerce)</a:t>
          </a:r>
        </a:p>
      </dsp:txBody>
      <dsp:txXfrm>
        <a:off x="0" y="2114957"/>
        <a:ext cx="4506058" cy="528578"/>
      </dsp:txXfrm>
    </dsp:sp>
    <dsp:sp modelId="{1BC04E1F-1EFB-47DC-B8FC-0600553C9406}">
      <dsp:nvSpPr>
        <dsp:cNvPr id="0" name=""/>
        <dsp:cNvSpPr/>
      </dsp:nvSpPr>
      <dsp:spPr>
        <a:xfrm>
          <a:off x="0" y="2643536"/>
          <a:ext cx="4506058" cy="0"/>
        </a:xfrm>
        <a:prstGeom prst="line">
          <a:avLst/>
        </a:prstGeom>
        <a:solidFill>
          <a:schemeClr val="accent2">
            <a:shade val="80000"/>
            <a:hueOff val="-267453"/>
            <a:satOff val="5648"/>
            <a:lumOff val="15045"/>
            <a:alphaOff val="0"/>
          </a:schemeClr>
        </a:solidFill>
        <a:ln w="12700" cap="flat" cmpd="sng" algn="ctr">
          <a:solidFill>
            <a:schemeClr val="accent2">
              <a:shade val="80000"/>
              <a:hueOff val="-267453"/>
              <a:satOff val="5648"/>
              <a:lumOff val="1504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3F5DD-6F2B-47D5-897E-DCF6FE47A06F}">
      <dsp:nvSpPr>
        <dsp:cNvPr id="0" name=""/>
        <dsp:cNvSpPr/>
      </dsp:nvSpPr>
      <dsp:spPr>
        <a:xfrm>
          <a:off x="0" y="2643535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ATM</a:t>
          </a:r>
        </a:p>
      </dsp:txBody>
      <dsp:txXfrm>
        <a:off x="0" y="2643535"/>
        <a:ext cx="4506058" cy="528578"/>
      </dsp:txXfrm>
    </dsp:sp>
    <dsp:sp modelId="{04D4BBE0-D719-4EE8-815B-948E157F824D}">
      <dsp:nvSpPr>
        <dsp:cNvPr id="0" name=""/>
        <dsp:cNvSpPr/>
      </dsp:nvSpPr>
      <dsp:spPr>
        <a:xfrm>
          <a:off x="0" y="3172114"/>
          <a:ext cx="4506058" cy="0"/>
        </a:xfrm>
        <a:prstGeom prst="line">
          <a:avLst/>
        </a:prstGeom>
        <a:solidFill>
          <a:schemeClr val="accent2">
            <a:shade val="80000"/>
            <a:hueOff val="-320943"/>
            <a:satOff val="6777"/>
            <a:lumOff val="18054"/>
            <a:alphaOff val="0"/>
          </a:schemeClr>
        </a:solidFill>
        <a:ln w="12700" cap="flat" cmpd="sng" algn="ctr">
          <a:solidFill>
            <a:schemeClr val="accent2">
              <a:shade val="80000"/>
              <a:hueOff val="-320943"/>
              <a:satOff val="6777"/>
              <a:lumOff val="1805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DDC699-5972-49AA-BB2A-537FBC3266F5}">
      <dsp:nvSpPr>
        <dsp:cNvPr id="0" name=""/>
        <dsp:cNvSpPr/>
      </dsp:nvSpPr>
      <dsp:spPr>
        <a:xfrm>
          <a:off x="0" y="3172114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POS</a:t>
          </a:r>
        </a:p>
      </dsp:txBody>
      <dsp:txXfrm>
        <a:off x="0" y="3172114"/>
        <a:ext cx="4506058" cy="528578"/>
      </dsp:txXfrm>
    </dsp:sp>
    <dsp:sp modelId="{9345A4B4-5D59-4F20-8641-44946AD07D1B}">
      <dsp:nvSpPr>
        <dsp:cNvPr id="0" name=""/>
        <dsp:cNvSpPr/>
      </dsp:nvSpPr>
      <dsp:spPr>
        <a:xfrm>
          <a:off x="0" y="3700692"/>
          <a:ext cx="4506058" cy="0"/>
        </a:xfrm>
        <a:prstGeom prst="line">
          <a:avLst/>
        </a:prstGeom>
        <a:solidFill>
          <a:schemeClr val="accent2">
            <a:shade val="80000"/>
            <a:hueOff val="-374434"/>
            <a:satOff val="7907"/>
            <a:lumOff val="21063"/>
            <a:alphaOff val="0"/>
          </a:schemeClr>
        </a:solidFill>
        <a:ln w="12700" cap="flat" cmpd="sng" algn="ctr">
          <a:solidFill>
            <a:schemeClr val="accent2">
              <a:shade val="80000"/>
              <a:hueOff val="-374434"/>
              <a:satOff val="7907"/>
              <a:lumOff val="2106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80555E-AFDF-4155-931E-8A5F1845827B}">
      <dsp:nvSpPr>
        <dsp:cNvPr id="0" name=""/>
        <dsp:cNvSpPr/>
      </dsp:nvSpPr>
      <dsp:spPr>
        <a:xfrm>
          <a:off x="0" y="3700692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Virtual Machines</a:t>
          </a:r>
        </a:p>
      </dsp:txBody>
      <dsp:txXfrm>
        <a:off x="0" y="3700692"/>
        <a:ext cx="4506058" cy="528578"/>
      </dsp:txXfrm>
    </dsp:sp>
    <dsp:sp modelId="{DBA20B85-D23B-46A3-8FBE-E9B02CCA5454}">
      <dsp:nvSpPr>
        <dsp:cNvPr id="0" name=""/>
        <dsp:cNvSpPr/>
      </dsp:nvSpPr>
      <dsp:spPr>
        <a:xfrm>
          <a:off x="0" y="4229270"/>
          <a:ext cx="4506058" cy="0"/>
        </a:xfrm>
        <a:prstGeom prst="line">
          <a:avLst/>
        </a:prstGeom>
        <a:solidFill>
          <a:schemeClr val="accent2">
            <a:shade val="80000"/>
            <a:hueOff val="-427924"/>
            <a:satOff val="9036"/>
            <a:lumOff val="24072"/>
            <a:alphaOff val="0"/>
          </a:schemeClr>
        </a:solidFill>
        <a:ln w="12700" cap="flat" cmpd="sng" algn="ctr">
          <a:solidFill>
            <a:schemeClr val="accent2">
              <a:shade val="80000"/>
              <a:hueOff val="-427924"/>
              <a:satOff val="9036"/>
              <a:lumOff val="2407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BDD64A-1261-4660-9C5B-36A0663EA3E4}">
      <dsp:nvSpPr>
        <dsp:cNvPr id="0" name=""/>
        <dsp:cNvSpPr/>
      </dsp:nvSpPr>
      <dsp:spPr>
        <a:xfrm>
          <a:off x="0" y="4229270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Blockchain</a:t>
          </a:r>
        </a:p>
      </dsp:txBody>
      <dsp:txXfrm>
        <a:off x="0" y="4229270"/>
        <a:ext cx="4506058" cy="528578"/>
      </dsp:txXfrm>
    </dsp:sp>
    <dsp:sp modelId="{39E7AF0C-B1C6-4105-9BA0-179D805D9025}">
      <dsp:nvSpPr>
        <dsp:cNvPr id="0" name=""/>
        <dsp:cNvSpPr/>
      </dsp:nvSpPr>
      <dsp:spPr>
        <a:xfrm>
          <a:off x="0" y="4757848"/>
          <a:ext cx="4506058" cy="0"/>
        </a:xfrm>
        <a:prstGeom prst="line">
          <a:avLst/>
        </a:prstGeom>
        <a:solidFill>
          <a:schemeClr val="accent2">
            <a:shade val="80000"/>
            <a:hueOff val="-481415"/>
            <a:satOff val="10166"/>
            <a:lumOff val="27081"/>
            <a:alphaOff val="0"/>
          </a:schemeClr>
        </a:solidFill>
        <a:ln w="12700" cap="flat" cmpd="sng" algn="ctr">
          <a:solidFill>
            <a:schemeClr val="accent2">
              <a:shade val="80000"/>
              <a:hueOff val="-481415"/>
              <a:satOff val="10166"/>
              <a:lumOff val="270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B98CB-DEE7-4A09-A309-86BBC71A7807}">
      <dsp:nvSpPr>
        <dsp:cNvPr id="0" name=""/>
        <dsp:cNvSpPr/>
      </dsp:nvSpPr>
      <dsp:spPr>
        <a:xfrm>
          <a:off x="0" y="4757848"/>
          <a:ext cx="4506058" cy="5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0000"/>
              </a:solidFill>
            </a:rPr>
            <a:t>Cryptocurrencies</a:t>
          </a:r>
        </a:p>
      </dsp:txBody>
      <dsp:txXfrm>
        <a:off x="0" y="4757848"/>
        <a:ext cx="4506058" cy="5285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3393734-955F-48C3-87B6-85E6F0F8755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8FCC03-AC5A-43CD-9081-1AC1DFC440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30863" y="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CA14B-0E32-4E83-98AB-0360255CCDAE}" type="datetimeFigureOut">
              <a:rPr lang="en-US" smtClean="0"/>
              <a:t>7/1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E9E458-170C-4FFA-9B7E-B68A6BE11B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67475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1C4D1D-81C6-4693-A358-6E72299ABC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30863" y="6467475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FDC6AE-8B3D-4E8F-8E1D-9055DE2F6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697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7734" cy="341622"/>
          </a:xfrm>
          <a:prstGeom prst="rect">
            <a:avLst/>
          </a:prstGeom>
        </p:spPr>
        <p:txBody>
          <a:bodyPr vert="horz" lIns="93305" tIns="46653" rIns="93305" bIns="4665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0892" y="0"/>
            <a:ext cx="4307734" cy="341622"/>
          </a:xfrm>
          <a:prstGeom prst="rect">
            <a:avLst/>
          </a:prstGeom>
        </p:spPr>
        <p:txBody>
          <a:bodyPr vert="horz" lIns="93305" tIns="46653" rIns="93305" bIns="46653" rtlCol="0"/>
          <a:lstStyle>
            <a:lvl1pPr algn="r">
              <a:defRPr sz="1200"/>
            </a:lvl1pPr>
          </a:lstStyle>
          <a:p>
            <a:fld id="{7412D0C3-E1D5-6646-92FA-4B515DCCF152}" type="datetimeFigureOut">
              <a:rPr lang="en-US" smtClean="0"/>
              <a:t>7/1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38525" y="850900"/>
            <a:ext cx="3063875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05" tIns="46653" rIns="93305" bIns="4665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4093" y="3276728"/>
            <a:ext cx="7952740" cy="2680961"/>
          </a:xfrm>
          <a:prstGeom prst="rect">
            <a:avLst/>
          </a:prstGeom>
        </p:spPr>
        <p:txBody>
          <a:bodyPr vert="horz" lIns="93305" tIns="46653" rIns="93305" bIns="4665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6467168"/>
            <a:ext cx="4307734" cy="341621"/>
          </a:xfrm>
          <a:prstGeom prst="rect">
            <a:avLst/>
          </a:prstGeom>
        </p:spPr>
        <p:txBody>
          <a:bodyPr vert="horz" lIns="93305" tIns="46653" rIns="93305" bIns="4665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0892" y="6467168"/>
            <a:ext cx="4307734" cy="341621"/>
          </a:xfrm>
          <a:prstGeom prst="rect">
            <a:avLst/>
          </a:prstGeom>
        </p:spPr>
        <p:txBody>
          <a:bodyPr vert="horz" lIns="93305" tIns="46653" rIns="93305" bIns="46653" rtlCol="0" anchor="b"/>
          <a:lstStyle>
            <a:lvl1pPr algn="r">
              <a:defRPr sz="1200"/>
            </a:lvl1pPr>
          </a:lstStyle>
          <a:p>
            <a:fld id="{0274F2DB-7A17-B741-BB0A-91C049F3AC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936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9574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798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384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0B31E4-6FCC-4BD1-B1E6-EC1E86C0E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23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0B31E4-6FCC-4BD1-B1E6-EC1E86C0E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lose up of a clip&#10;&#10;Description generated with high confidence">
            <a:extLst>
              <a:ext uri="{FF2B5EF4-FFF2-40B4-BE49-F238E27FC236}">
                <a16:creationId xmlns:a16="http://schemas.microsoft.com/office/drawing/2014/main" id="{FC85BAEB-1367-4DC2-808F-312FB71FEE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V="1">
            <a:off x="0" y="3175"/>
            <a:ext cx="1944628" cy="29169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83" y="5618215"/>
            <a:ext cx="6027180" cy="3718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83" y="794408"/>
            <a:ext cx="6027180" cy="3718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9D54BD1-83F0-461A-BBFC-785175446B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126652" y="5618215"/>
            <a:ext cx="662339" cy="6613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F658BB-B476-471B-B403-722314E94395}"/>
              </a:ext>
            </a:extLst>
          </p:cNvPr>
          <p:cNvSpPr txBox="1"/>
          <p:nvPr userDrawn="1"/>
        </p:nvSpPr>
        <p:spPr>
          <a:xfrm>
            <a:off x="3963888" y="6365082"/>
            <a:ext cx="121622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27A7D02-6542-2F43-AD79-C40D96B02C71}" type="datetime3">
              <a:rPr lang="en-US" sz="750" smtClean="0">
                <a:solidFill>
                  <a:srgbClr val="DC0531"/>
                </a:solidFill>
              </a:rPr>
              <a:pPr algn="ctr"/>
              <a:t>10 July 2026</a:t>
            </a:fld>
            <a:endParaRPr lang="en-US" sz="750" dirty="0">
              <a:solidFill>
                <a:srgbClr val="DC05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ACA3C1-CD63-4DE0-A8C2-1DB8CDF7559D}"/>
              </a:ext>
            </a:extLst>
          </p:cNvPr>
          <p:cNvSpPr txBox="1"/>
          <p:nvPr userDrawn="1"/>
        </p:nvSpPr>
        <p:spPr>
          <a:xfrm>
            <a:off x="323956" y="6365082"/>
            <a:ext cx="242996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750" b="1" dirty="0">
                <a:solidFill>
                  <a:srgbClr val="DC0531"/>
                </a:solidFill>
              </a:rPr>
              <a:t>Tahaluf Training Centr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D9B8D3-B091-405B-8632-B2BF832985E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35763" y="193610"/>
            <a:ext cx="1584960" cy="97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810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EC5995A-4474-4198-9084-85E2CF97B6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080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EC5995A-4474-4198-9084-85E2CF97B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>
          <a:xfrm>
            <a:off x="0" y="652888"/>
            <a:ext cx="9144000" cy="369043"/>
          </a:xfrm>
          <a:prstGeom prst="rect">
            <a:avLst/>
          </a:prstGeom>
          <a:solidFill>
            <a:schemeClr val="bg1">
              <a:lumMod val="8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198818"/>
            <a:ext cx="914400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H="1">
            <a:off x="241912" y="6198818"/>
            <a:ext cx="0" cy="15423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>
            <a:off x="8623316" y="6198818"/>
            <a:ext cx="0" cy="15423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 userDrawn="1"/>
        </p:nvSpPr>
        <p:spPr>
          <a:xfrm>
            <a:off x="3970140" y="6365082"/>
            <a:ext cx="121622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27A7D02-6542-2F43-AD79-C40D96B02C71}" type="datetime3">
              <a:rPr lang="en-US" sz="750" smtClean="0">
                <a:solidFill>
                  <a:srgbClr val="DC0531"/>
                </a:solidFill>
              </a:rPr>
              <a:pPr algn="ctr"/>
              <a:t>10 July 2026</a:t>
            </a:fld>
            <a:endParaRPr lang="en-US" sz="750" dirty="0">
              <a:solidFill>
                <a:srgbClr val="DC053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22FA07-DA83-4910-A1E8-AE295E5601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26" y="3176"/>
            <a:ext cx="662339" cy="661302"/>
          </a:xfrm>
          <a:prstGeom prst="rect">
            <a:avLst/>
          </a:prstGeom>
        </p:spPr>
      </p:pic>
      <p:pic>
        <p:nvPicPr>
          <p:cNvPr id="12" name="Picture 11" descr="A close up of a clip&#10;&#10;Description generated with high confidence">
            <a:extLst>
              <a:ext uri="{FF2B5EF4-FFF2-40B4-BE49-F238E27FC236}">
                <a16:creationId xmlns:a16="http://schemas.microsoft.com/office/drawing/2014/main" id="{8521F967-79FA-4E64-A6C3-982BDB43026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4511" y="6353053"/>
            <a:ext cx="336631" cy="504947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4380782-C2E2-47AC-8618-224001FD86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23316" y="6499906"/>
            <a:ext cx="517801" cy="358094"/>
          </a:xfrm>
          <a:prstGeom prst="rect">
            <a:avLst/>
          </a:prstGeom>
          <a:solidFill>
            <a:srgbClr val="DC0531"/>
          </a:solidFill>
          <a:ln>
            <a:noFill/>
          </a:ln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84206077-A1A8-9A42-BD54-D5D16EB44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94160A-6D90-4AC4-8EAF-DDA288FF3F06}"/>
              </a:ext>
            </a:extLst>
          </p:cNvPr>
          <p:cNvSpPr txBox="1"/>
          <p:nvPr userDrawn="1"/>
        </p:nvSpPr>
        <p:spPr>
          <a:xfrm>
            <a:off x="323956" y="6365082"/>
            <a:ext cx="242996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750" b="1" dirty="0">
                <a:solidFill>
                  <a:srgbClr val="DC0531"/>
                </a:solidFill>
              </a:rPr>
              <a:t>Tahaluf Training Centre 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37A9D-3FAA-4E93-B5C6-73B1ADC49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D46535-93B6-49B9-BC7E-BA9FE544C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76F8FA-C1A2-4F19-AD3A-CE0FEC639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FA2219-E50A-4200-A34D-762AAB68F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2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rse/Lesson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_strok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94488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0BDD-7155-D744-B749-9730458604A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 descr="course outline graphic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0888"/>
            <a:ext cx="9144000" cy="896112"/>
          </a:xfrm>
          <a:prstGeom prst="rect">
            <a:avLst/>
          </a:prstGeom>
        </p:spPr>
      </p:pic>
      <p:pic>
        <p:nvPicPr>
          <p:cNvPr id="7" name="Picture 6" descr="course outline graphi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0888"/>
            <a:ext cx="9144000" cy="896112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41925" y="1302040"/>
            <a:ext cx="8460150" cy="4131352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800" baseline="0"/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600" baseline="0"/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400"/>
            </a:lvl3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342900" marR="0" lvl="1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1925" y="100269"/>
            <a:ext cx="7883768" cy="8446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ourse/Lesson outline</a:t>
            </a:r>
          </a:p>
        </p:txBody>
      </p:sp>
    </p:spTree>
    <p:extLst>
      <p:ext uri="{BB962C8B-B14F-4D97-AF65-F5344CB8AC3E}">
        <p14:creationId xmlns:p14="http://schemas.microsoft.com/office/powerpoint/2010/main" val="3779899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rne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header_strok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944880"/>
          </a:xfrm>
          <a:prstGeom prst="rect">
            <a:avLst/>
          </a:prstGeom>
        </p:spPr>
      </p:pic>
      <p:pic>
        <p:nvPicPr>
          <p:cNvPr id="7" name="Picture 6" descr="choice blocks-0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0BDD-7155-D744-B749-9730458604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1925" y="100269"/>
            <a:ext cx="7883768" cy="8446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41925" y="1302040"/>
            <a:ext cx="8460150" cy="4481345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800" baseline="0"/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600" baseline="0"/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lvl3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342900" marR="0" lvl="1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8127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 Fi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eader_strok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94488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0BDD-7155-D744-B749-9730458604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41925" y="1302040"/>
            <a:ext cx="8460150" cy="4920960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800" baseline="0"/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600" baseline="0"/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lvl3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342900" marR="0" lvl="1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1925" y="100269"/>
            <a:ext cx="7883768" cy="8446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55661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ottom Fi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_strok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94488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0BDD-7155-D744-B749-9730458604A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bottom graphic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9800"/>
            <a:ext cx="9144000" cy="457200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1925" y="100269"/>
            <a:ext cx="7883768" cy="8446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41925" y="1302040"/>
            <a:ext cx="8460150" cy="4481345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800" baseline="0"/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 sz="1600" baseline="0"/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lvl3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342900" marR="0" lvl="1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DD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60104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flectiv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header_strok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944880"/>
          </a:xfrm>
          <a:prstGeom prst="rect">
            <a:avLst/>
          </a:prstGeom>
        </p:spPr>
      </p:pic>
      <p:pic>
        <p:nvPicPr>
          <p:cNvPr id="4" name="Picture 3" descr="bubbl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3" y="33129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0BDD-7155-D744-B749-9730458604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1925" y="1302039"/>
            <a:ext cx="8460150" cy="45259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0"/>
              </a:spcAft>
              <a:buClr>
                <a:srgbClr val="009DDC"/>
              </a:buClr>
              <a:buFont typeface="+mj-lt"/>
              <a:buAutoNum type="arabicPeriod"/>
              <a:defRPr sz="2000" baseline="0"/>
            </a:lvl1pPr>
            <a:lvl2pPr marL="742950" indent="-285750">
              <a:spcAft>
                <a:spcPts val="0"/>
              </a:spcAft>
              <a:buClr>
                <a:srgbClr val="009DDC"/>
              </a:buClr>
              <a:buFont typeface="Arial"/>
              <a:buChar char="•"/>
              <a:defRPr sz="1800" baseline="0"/>
            </a:lvl2pPr>
          </a:lstStyle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C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Question #1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C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Question #2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C"/>
              </a:buClr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C"/>
              </a:buClr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1925" y="100269"/>
            <a:ext cx="7883768" cy="8446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Reflective Questions</a:t>
            </a:r>
          </a:p>
        </p:txBody>
      </p:sp>
    </p:spTree>
    <p:extLst>
      <p:ext uri="{BB962C8B-B14F-4D97-AF65-F5344CB8AC3E}">
        <p14:creationId xmlns:p14="http://schemas.microsoft.com/office/powerpoint/2010/main" val="1828340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3736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5DBF66-A1C6-4251-BB4A-0A0F17C165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C7A26-45B2-40AE-AAF8-139DBD4E1D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A5C904-1D84-4C6B-AE83-5CD7E2030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59C901-3775-428E-84E4-C924D5E32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155FF-1C8A-446A-80DB-88FE59116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5985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14AC3-8308-438B-9EE8-D3E2C10DC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BDF11-B151-40D9-A70D-6334D0EB4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9BBEBF-1FFF-44C9-958D-0860E6371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E3F189-1C4C-4452-A91C-A5D01A6E4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313F0D-FAEE-4DCE-B062-EB2648BDC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9524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7F719-932B-4EFF-BF0D-3F87CEF0E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6BA921-A1DB-454E-8F2D-D340246DBD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B84721-23F0-4B26-9048-8735BC44E8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7D1C6-D66D-47E8-B2DF-78A9F412A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08D633-B894-4723-9C00-2804C4584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555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F413A-4059-4C89-A9CD-84B78488B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FB1926-D5EB-40AE-8FFB-750F874F7A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0A6C03-9879-4FFA-860D-F38F9FAF2A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114C58-1A16-4215-9ABF-00A9E8A1B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D5846A-3E5D-4326-90DB-375BDAA9C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233923-DA0E-4B3A-9E3E-3DCCE5C6A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1091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3868E-2D7F-496F-877F-9DD063CF4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AF25-6B15-4BB6-BC86-71960619C4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90E8B3-C6BB-4A37-906B-4656D81B34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90623D-BD39-4C3C-A453-A82CC5A0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94EC4C-B6E6-48FF-B935-B3C3D52B9C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20CB8F-B655-4935-ACD8-C56B0641D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6A9C4A-351E-41F4-9AEA-9259BA9E6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A8CAAC6-8AE9-4EFE-9487-E28740844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120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49993-B617-4DB5-8297-9C0FA9478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B7EB62-23FC-4204-83B5-3C067092E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12710D-8CAD-4569-B8F0-C752401BD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40832E-E477-4039-8D00-CFB2F7860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162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EC7E0F-CD3D-41C8-A738-220AC070E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CEEB3F-8317-46BC-A6DE-7C54A74B1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19142-9589-4A2C-B9AD-3839496F9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162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9468EA-A044-4D1C-8FFA-F6D87946A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B6C54-7746-4EB7-A17E-E777BD359B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67F1BE-2507-4282-89FC-3D776AB18C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7358C9-015F-45C7-B87D-ED6BDD07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7703E6-51BE-40B6-9883-47522298E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D5B327-4120-4F43-94D2-0A7F93706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5396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C4DD5-E10F-48EA-85B6-588AEF850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1EB5E3-0685-4EB3-B6F8-DC9CD9C8D0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8A39EA-A389-4B78-8636-A855AEB3FA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379AAB-B9F5-4949-AF67-2B7CCDFAC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091E5B-72FD-4DFE-9804-2D54A5652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9F42F0-937C-487A-A3A4-EB85400B6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9583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3732C-20B9-4B1A-92E1-89DD4B27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4B122C-DFB6-4304-81B7-98DEC3FFF6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7C4E91-5498-40E7-80BB-BE84C7175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AF5CC7-0A3E-4340-B5BC-0DE762E6E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C0974D-3210-4A49-B0B3-DD7172C5D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905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1902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8CF060F-F9E5-426A-8601-F9543D26FA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B99869-049A-4C68-9127-08CAA894AE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37B787-212D-4C12-BB61-431A451E4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81C853-0F7F-4DBB-9D7D-2DA1E6FC9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264F6-91BF-4D8A-BF5C-FAB04C4C6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819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4126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050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8639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776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5918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ECD6AF-928D-A324-9FF4-B0999C4270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9677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6ECD6AF-928D-A324-9FF4-B0999C427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619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2737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2350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947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0576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03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6235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0B31E4-6FCC-4BD1-B1E6-EC1E86C0E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23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0B31E4-6FCC-4BD1-B1E6-EC1E86C0E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lose up of a clip&#10;&#10;Description generated with high confidence">
            <a:extLst>
              <a:ext uri="{FF2B5EF4-FFF2-40B4-BE49-F238E27FC236}">
                <a16:creationId xmlns:a16="http://schemas.microsoft.com/office/drawing/2014/main" id="{FC85BAEB-1367-4DC2-808F-312FB71FEE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V="1">
            <a:off x="0" y="3175"/>
            <a:ext cx="1944628" cy="29169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83" y="5618215"/>
            <a:ext cx="6027180" cy="3718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83" y="794408"/>
            <a:ext cx="6027180" cy="3718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9D54BD1-83F0-461A-BBFC-785175446B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126652" y="5618215"/>
            <a:ext cx="662339" cy="6613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F658BB-B476-471B-B403-722314E94395}"/>
              </a:ext>
            </a:extLst>
          </p:cNvPr>
          <p:cNvSpPr txBox="1"/>
          <p:nvPr userDrawn="1"/>
        </p:nvSpPr>
        <p:spPr>
          <a:xfrm>
            <a:off x="3963888" y="6365082"/>
            <a:ext cx="121622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27A7D02-6542-2F43-AD79-C40D96B02C71}" type="datetime3">
              <a:rPr lang="en-US" sz="750" smtClean="0">
                <a:solidFill>
                  <a:srgbClr val="DC0531"/>
                </a:solidFill>
              </a:rPr>
              <a:pPr algn="ctr"/>
              <a:t>10 July 2026</a:t>
            </a:fld>
            <a:endParaRPr lang="en-US" sz="750" dirty="0">
              <a:solidFill>
                <a:srgbClr val="DC05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ACA3C1-CD63-4DE0-A8C2-1DB8CDF7559D}"/>
              </a:ext>
            </a:extLst>
          </p:cNvPr>
          <p:cNvSpPr txBox="1"/>
          <p:nvPr userDrawn="1"/>
        </p:nvSpPr>
        <p:spPr>
          <a:xfrm>
            <a:off x="323956" y="6365082"/>
            <a:ext cx="242996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750" b="1" dirty="0">
                <a:solidFill>
                  <a:srgbClr val="DC0531"/>
                </a:solidFill>
              </a:rPr>
              <a:t>Tahaluf Training Centr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D9B8D3-B091-405B-8632-B2BF832985E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35763" y="193610"/>
            <a:ext cx="1584960" cy="97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428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lor Full Col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44091"/>
      </p:ext>
    </p:extLst>
  </p:cSld>
  <p:clrMapOvr>
    <a:masterClrMapping/>
  </p:clrMapOvr>
  <p:transition spd="med" advClick="0" advTm="300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024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4ECCA0-576E-4A31-AF6F-F5065A7C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9677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4ECCA0-576E-4A31-AF6F-F5065A7C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71245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41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252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3201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BC466D-AB2D-46A2-ABFF-3338435D9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10321486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93" imgH="493" progId="TCLayout.ActiveDocument.1">
                  <p:embed/>
                </p:oleObj>
              </mc:Choice>
              <mc:Fallback>
                <p:oleObj name="think-cell Slide" r:id="rId22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BC466D-AB2D-46A2-ABFF-3338435D9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371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61" r:id="rId13"/>
    <p:sldLayoutId id="2147483679" r:id="rId14"/>
    <p:sldLayoutId id="2147483692" r:id="rId15"/>
    <p:sldLayoutId id="2147483693" r:id="rId16"/>
    <p:sldLayoutId id="2147483694" r:id="rId17"/>
    <p:sldLayoutId id="2147483695" r:id="rId18"/>
    <p:sldLayoutId id="2147483696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0A12EA-7F24-478C-AA60-3B8248DD3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36A4A2-D668-4E1D-9D03-46E9A200D5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A13D40-EA78-48D7-BB19-3F5E7CB649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C74BE1-0448-4E10-99CE-109EC0576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A83550-57B2-470F-9AB1-C25C8380B4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83630-A307-46C2-B74C-D26F5EDDD1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063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206077-A1A8-9A42-BD54-D5D16EB449B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D34135F-6B25-1D7C-FD51-A65740B47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0321486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93" imgH="493" progId="TCLayout.ActiveDocument.1">
                  <p:embed/>
                </p:oleObj>
              </mc:Choice>
              <mc:Fallback>
                <p:oleObj name="think-cell Slide" r:id="rId16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D34135F-6B25-1D7C-FD51-A65740B47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06248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9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20.jpe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17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5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9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19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Relationship Id="rId6" Type="http://schemas.openxmlformats.org/officeDocument/2006/relationships/diagramQuickStyle" Target="../diagrams/quickStyle19.xml"/><Relationship Id="rId5" Type="http://schemas.openxmlformats.org/officeDocument/2006/relationships/diagramLayout" Target="../diagrams/layout19.xml"/><Relationship Id="rId4" Type="http://schemas.openxmlformats.org/officeDocument/2006/relationships/diagramData" Target="../diagrams/data1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5DD031-E8C8-3ACE-5A0D-07B40466FC79}"/>
              </a:ext>
            </a:extLst>
          </p:cNvPr>
          <p:cNvSpPr txBox="1"/>
          <p:nvPr/>
        </p:nvSpPr>
        <p:spPr>
          <a:xfrm>
            <a:off x="2270927" y="1929284"/>
            <a:ext cx="51447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/>
              <a:t>Chapter 01</a:t>
            </a:r>
          </a:p>
        </p:txBody>
      </p:sp>
      <p:pic>
        <p:nvPicPr>
          <p:cNvPr id="5122" name="Picture 2" descr="CHFI Exam 2025 - Practice Test Geeks">
            <a:extLst>
              <a:ext uri="{FF2B5EF4-FFF2-40B4-BE49-F238E27FC236}">
                <a16:creationId xmlns:a16="http://schemas.microsoft.com/office/drawing/2014/main" id="{A3483391-E7E8-9151-F5B9-49E523AF7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1742" y="3026157"/>
            <a:ext cx="2143125" cy="21431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50963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7D3532D-760D-9F34-7B0A-CD86410A6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32273-161E-873B-1F1C-A7C3A4C95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697BACF-9821-BF3F-A03A-BE014D3808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5869304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E52883-6500-0D9D-4EA2-C55EA24BF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0</a:t>
            </a:fld>
            <a:endParaRPr lang="en-US"/>
          </a:p>
        </p:txBody>
      </p:sp>
      <p:pic>
        <p:nvPicPr>
          <p:cNvPr id="3074" name="Picture 2" descr="Digital Evidence and Digital Forensics ...">
            <a:extLst>
              <a:ext uri="{FF2B5EF4-FFF2-40B4-BE49-F238E27FC236}">
                <a16:creationId xmlns:a16="http://schemas.microsoft.com/office/drawing/2014/main" id="{11D211B6-0FC2-7D0D-811D-22EE5E1D2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8176" y="681037"/>
            <a:ext cx="2828925" cy="16192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0368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C877584-3BF6-6ACD-8940-40EE450EF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5BF25-AF9E-8098-A3AA-E57E71857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Digit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F5259B8-6EB0-8925-DED6-5A603A786D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9582786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CD6AB-D6AB-B97F-1F4B-DCEAD059F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07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027C581-C652-9629-7F13-BCAEF5E78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08D73-5C6B-D608-BF4B-E4E3FC273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495" y="264642"/>
            <a:ext cx="7886700" cy="1325563"/>
          </a:xfrm>
        </p:spPr>
        <p:txBody>
          <a:bodyPr/>
          <a:lstStyle/>
          <a:p>
            <a:r>
              <a:rPr lang="en-US" dirty="0"/>
              <a:t>Sources of Potenti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DD9D484-C896-CA0E-66FA-A49AC49C2B2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3347848"/>
              </p:ext>
            </p:extLst>
          </p:nvPr>
        </p:nvGraphicFramePr>
        <p:xfrm>
          <a:off x="628650" y="2140490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B13674-3E7A-03AC-AD37-25A3EA290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2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DCF4AB-A29B-1ADF-1B28-E0829C5774C0}"/>
              </a:ext>
            </a:extLst>
          </p:cNvPr>
          <p:cNvSpPr txBox="1"/>
          <p:nvPr/>
        </p:nvSpPr>
        <p:spPr>
          <a:xfrm>
            <a:off x="3265713" y="1459856"/>
            <a:ext cx="2964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User Created Files</a:t>
            </a:r>
          </a:p>
        </p:txBody>
      </p:sp>
    </p:spTree>
    <p:extLst>
      <p:ext uri="{BB962C8B-B14F-4D97-AF65-F5344CB8AC3E}">
        <p14:creationId xmlns:p14="http://schemas.microsoft.com/office/powerpoint/2010/main" val="3038554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2AF9D30-7E2E-4D2E-C192-D153F630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572A2-EBA7-93DC-0491-8E1A408BB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495" y="264642"/>
            <a:ext cx="7886700" cy="1325563"/>
          </a:xfrm>
        </p:spPr>
        <p:txBody>
          <a:bodyPr/>
          <a:lstStyle/>
          <a:p>
            <a:r>
              <a:rPr lang="en-US" dirty="0"/>
              <a:t>Sources of Potenti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31A4332-5C05-5A16-D3A5-3449338F20F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7066434"/>
              </p:ext>
            </p:extLst>
          </p:nvPr>
        </p:nvGraphicFramePr>
        <p:xfrm>
          <a:off x="628650" y="2140490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4CA7B1-2485-F607-F9D1-4C814552E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1C02E8-FF5D-8933-281A-488462F3F5E5}"/>
              </a:ext>
            </a:extLst>
          </p:cNvPr>
          <p:cNvSpPr txBox="1"/>
          <p:nvPr/>
        </p:nvSpPr>
        <p:spPr>
          <a:xfrm>
            <a:off x="3265713" y="1459856"/>
            <a:ext cx="2964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User Protected Files</a:t>
            </a:r>
          </a:p>
        </p:txBody>
      </p:sp>
    </p:spTree>
    <p:extLst>
      <p:ext uri="{BB962C8B-B14F-4D97-AF65-F5344CB8AC3E}">
        <p14:creationId xmlns:p14="http://schemas.microsoft.com/office/powerpoint/2010/main" val="3840804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B323385-3F9E-5DAE-D3BC-B25FAF6D67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B1499-B01A-97D6-8A4A-657E6FF33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495" y="264642"/>
            <a:ext cx="7886700" cy="1325563"/>
          </a:xfrm>
        </p:spPr>
        <p:txBody>
          <a:bodyPr/>
          <a:lstStyle/>
          <a:p>
            <a:r>
              <a:rPr lang="en-US" dirty="0"/>
              <a:t>Sources of Potenti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CAB8D4F-EEEA-B1EB-88DB-F0EC86C4B6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4042450"/>
              </p:ext>
            </p:extLst>
          </p:nvPr>
        </p:nvGraphicFramePr>
        <p:xfrm>
          <a:off x="628650" y="2140490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E91D7E-1B1B-EF46-91B2-C6F015D0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4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D24589-E4EA-2FDA-8BC3-43ADDCCAB9C2}"/>
              </a:ext>
            </a:extLst>
          </p:cNvPr>
          <p:cNvSpPr txBox="1"/>
          <p:nvPr/>
        </p:nvSpPr>
        <p:spPr>
          <a:xfrm>
            <a:off x="3265713" y="1459856"/>
            <a:ext cx="3396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Computer Created Files</a:t>
            </a:r>
          </a:p>
        </p:txBody>
      </p:sp>
    </p:spTree>
    <p:extLst>
      <p:ext uri="{BB962C8B-B14F-4D97-AF65-F5344CB8AC3E}">
        <p14:creationId xmlns:p14="http://schemas.microsoft.com/office/powerpoint/2010/main" val="19580557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73013A8-D2F6-0E4C-3CD1-F12B32620F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62B6-C451-0825-94EF-EFE4971A1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Potenti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FAD7D9F-91A3-E515-2B24-BDFF67B3E61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7704276"/>
              </p:ext>
            </p:extLst>
          </p:nvPr>
        </p:nvGraphicFramePr>
        <p:xfrm>
          <a:off x="628650" y="1825625"/>
          <a:ext cx="3139482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05A8C9-9B3F-CF94-B01E-CDD898385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5</a:t>
            </a:fld>
            <a:endParaRPr lang="en-US"/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EECE5C4B-5361-4189-BFA1-B7AFE98780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8804663"/>
              </p:ext>
            </p:extLst>
          </p:nvPr>
        </p:nvGraphicFramePr>
        <p:xfrm>
          <a:off x="5512149" y="1792305"/>
          <a:ext cx="3139482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7798863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5538F12-78EA-9A15-04F5-AD1AE0766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2E3EF-49D2-A590-3187-4ACC6AC6A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Potenti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117B31E-D0A1-56F9-52CA-47680A84726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9701503"/>
              </p:ext>
            </p:extLst>
          </p:nvPr>
        </p:nvGraphicFramePr>
        <p:xfrm>
          <a:off x="433021" y="1434404"/>
          <a:ext cx="4506058" cy="5287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9845B5-AA5C-AA49-1224-B26185002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9132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CD5949A-D04F-676E-9BF6-E6E162203B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518BF-6E45-E735-D9AC-7429F3872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A478BC9-DEB4-1938-7C67-2BD86BC9718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7530493"/>
              </p:ext>
            </p:extLst>
          </p:nvPr>
        </p:nvGraphicFramePr>
        <p:xfrm>
          <a:off x="433021" y="1434404"/>
          <a:ext cx="4506058" cy="5287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861B00-A0AE-496B-28BA-A36A83F4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7</a:t>
            </a:fld>
            <a:endParaRPr lang="en-US"/>
          </a:p>
        </p:txBody>
      </p:sp>
      <p:pic>
        <p:nvPicPr>
          <p:cNvPr id="4098" name="Picture 2" descr="Digital Evidence in Today's Criminal Cases">
            <a:extLst>
              <a:ext uri="{FF2B5EF4-FFF2-40B4-BE49-F238E27FC236}">
                <a16:creationId xmlns:a16="http://schemas.microsoft.com/office/drawing/2014/main" id="{09C97A93-EC5C-6864-E425-E873486AD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1688" y="3151982"/>
            <a:ext cx="2619375" cy="17430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44963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CE7FAFB-584F-ED1A-53BE-717DBE353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C120B7-A145-E85C-2058-208D8F7D3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deral Rules of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F47B155-2F31-DF69-6F38-CD50058E97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971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B90417-7D4D-277F-F875-219517773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9846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0D33FFD-3EF8-C42E-4C29-BC47256A9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A0D7D-92A0-195B-8614-8652A966B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deral Rules of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21B9257-EEE4-EFAB-055E-9505E58B47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178298"/>
              </p:ext>
            </p:extLst>
          </p:nvPr>
        </p:nvGraphicFramePr>
        <p:xfrm>
          <a:off x="208817" y="1874821"/>
          <a:ext cx="872636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28E57A-FDFA-D796-A44E-945821A37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057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background with black text">
            <a:extLst>
              <a:ext uri="{FF2B5EF4-FFF2-40B4-BE49-F238E27FC236}">
                <a16:creationId xmlns:a16="http://schemas.microsoft.com/office/drawing/2014/main" id="{1625EFC1-4974-606C-5D9C-92E1285168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59" y="857250"/>
            <a:ext cx="9144000" cy="51435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71747" y="1186552"/>
            <a:ext cx="3638939" cy="615821"/>
          </a:xfrm>
          <a:prstGeom prst="rect">
            <a:avLst/>
          </a:prstGeom>
        </p:spPr>
        <p:txBody>
          <a:bodyPr>
            <a:normAutofit/>
          </a:bodyPr>
          <a:lstStyle>
            <a:lvl1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 kern="1200" spc="-5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3600" b="1" dirty="0">
                <a:solidFill>
                  <a:srgbClr val="FF00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Course Outline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13483A-2AD1-A3A2-7870-DD2630C26582}"/>
              </a:ext>
            </a:extLst>
          </p:cNvPr>
          <p:cNvSpPr txBox="1">
            <a:spLocks noChangeArrowheads="1"/>
          </p:cNvSpPr>
          <p:nvPr/>
        </p:nvSpPr>
        <p:spPr>
          <a:xfrm>
            <a:off x="220401" y="1802373"/>
            <a:ext cx="9143999" cy="402898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b="1" dirty="0">
                <a:solidFill>
                  <a:schemeClr val="bg1"/>
                </a:solidFill>
              </a:rPr>
              <a:t>Computer Forensics in Today’s World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the fundamentals of Computer Forensic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Cybercrimes and their investigation procedure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Digital Evidence and eDiscovery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Forensics Readines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the Role of Various Processes and Technologies in Computer Forensic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Identify the Roles and Responsibilities of a Forensic Investigator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 Understand the Challenges Faced in Investigating Cybercrime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Various Standards and Best Practices Related to Computer Forensic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bg1"/>
                </a:solidFill>
              </a:rPr>
              <a:t>Understand Laws and Legal Compliance in Computer Forensic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endParaRPr lang="en-US" altLang="en-US" sz="1800" b="1" dirty="0">
              <a:solidFill>
                <a:schemeClr val="bg1"/>
              </a:solidFill>
            </a:endParaRPr>
          </a:p>
          <a:p>
            <a:pPr marL="257175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endParaRPr lang="en-US" altLang="en-US" b="1" dirty="0">
              <a:solidFill>
                <a:schemeClr val="bg1"/>
              </a:solidFill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85CC1B79-C131-2FA3-50D9-34CD669DA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3B85D-2A9B-BA3E-4728-097E1DB90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6442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D05D4E2-8FC3-A98C-81AF-A677A7A8D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AB2A5-5D88-304D-D971-76B19944E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iscovery Team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1E3766E-9EF3-62CA-B220-9706D0A1DE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049864"/>
            <a:ext cx="7886700" cy="33389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D2D18A-8589-3104-6DF7-4623B8531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3903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B896118-8A7B-52E8-35CE-942F4131E8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7192F-AEB9-E748-219D-0B7E6CFEC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ing Digital Evid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A9629D8-43AD-DD70-DB5F-073C043B2C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2423917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D9D9D9-7FDB-FBF3-835A-3B8B029DE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406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43B8D1A-EBD7-CB97-45A3-5389867031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F4FD5-2868-C0BC-5BC0-D417E12F4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 Readines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340FC7B-33CF-59A2-EDAA-B03F8CB031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848324"/>
            <a:ext cx="7886700" cy="230593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EB7832-463D-FA44-3C5E-F8709EBFB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4925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7A2D8A9-41C1-EA71-7603-36C2FE20D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FD2D4-3D7F-3EF7-A502-18CBAB64B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Key Principles of Forensics Readines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646E245-CC2C-BA57-8465-4C6FEEC323B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7432056"/>
              </p:ext>
            </p:extLst>
          </p:nvPr>
        </p:nvGraphicFramePr>
        <p:xfrm>
          <a:off x="3743639" y="1386882"/>
          <a:ext cx="5139104" cy="51520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E9320-AEDD-9EFF-9D25-3138928BC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D2AA7F-DEDD-F435-B228-770B04002261}"/>
              </a:ext>
            </a:extLst>
          </p:cNvPr>
          <p:cNvSpPr txBox="1"/>
          <p:nvPr/>
        </p:nvSpPr>
        <p:spPr>
          <a:xfrm>
            <a:off x="703385" y="1690689"/>
            <a:ext cx="31853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cedures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dirty="0"/>
              <a:t>Maintain an Inventor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dirty="0"/>
              <a:t>Host Monitoring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dirty="0"/>
              <a:t>Network Monitoring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9186291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39526C7-0FCA-252B-AD02-B292F912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64BC0-3691-F92C-58B8-0C60CA91F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ident Response Flow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CF77A8A-9009-1568-FA04-032D366DC4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221498"/>
            <a:ext cx="7886700" cy="35595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334C74-21EF-D98F-9AE8-01D843CE2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17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50B6AC6-0E12-7F1F-8E2C-C38C2EB26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56747-AD72-AA8D-93E8-53AA1916E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Threat Intelligence Role with Forensic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2FA20D-CBD7-A525-9251-F96EA11A42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7314071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8A50F8-502D-2F0D-856A-CA9AD033E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2211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26412A2-9A76-43B2-DD25-61E8D0491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BE53D-6253-B8AF-DAB7-B8F2B2606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ed for Forensic Investig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77E4F3-D51A-F506-40D4-6AAA070330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Cybercrime Profiling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Cybercrime Investiga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Evidence in Digital Form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Complex Digital Environmen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Preservation of Evidenc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Legal Standard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Litigation Suppor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Incident Handling and Respons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/>
              <a:t>Expert Testimony</a:t>
            </a:r>
          </a:p>
          <a:p>
            <a:pPr>
              <a:buFont typeface="Wingdings" panose="05000000000000000000" pitchFamily="2" charset="2"/>
              <a:buChar char="q"/>
            </a:pPr>
            <a:endParaRPr lang="en-US" b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EFB844-0DD5-D682-D702-5CC1959B5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132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44B2B2A-F126-5867-2AE8-75DC52A8D7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873F0-8AEC-1713-FAC4-9EA6AC478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ring Investig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B90F6F-08FB-4F01-91DA-D6E28C4E4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7</a:t>
            </a:fld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38A02B9-6DC6-A1C2-CE57-38C8A4E969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425284"/>
            <a:ext cx="7886700" cy="31520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16602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827D2E0-6B51-205A-A3A7-1BF5986B0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7E63B-3BB6-87A2-26D2-4D0DEBE12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er Forensics Resourc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8639C3-AE76-CD01-4050-08494BCB3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8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90E764-601E-7F03-3134-340FBAC049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B0F0"/>
                </a:solidFill>
              </a:rPr>
              <a:t>Associations offering computer forensic</a:t>
            </a:r>
          </a:p>
          <a:p>
            <a:r>
              <a:rPr lang="en-US" dirty="0">
                <a:solidFill>
                  <a:srgbClr val="00B0F0"/>
                </a:solidFill>
              </a:rPr>
              <a:t>Information High Technology Crime Investigation Association (HTCIA)</a:t>
            </a:r>
          </a:p>
          <a:p>
            <a:r>
              <a:rPr lang="en-US" dirty="0">
                <a:solidFill>
                  <a:srgbClr val="00B0F0"/>
                </a:solidFill>
              </a:rPr>
              <a:t>International Association of Chiefs of Police (IACP)</a:t>
            </a:r>
          </a:p>
          <a:p>
            <a:r>
              <a:rPr lang="en-US" dirty="0">
                <a:solidFill>
                  <a:srgbClr val="00B0F0"/>
                </a:solidFill>
              </a:rPr>
              <a:t>Association of Cyber Forensics and Threat Investigators (ACFTI)</a:t>
            </a:r>
          </a:p>
          <a:p>
            <a:r>
              <a:rPr lang="en-US" dirty="0">
                <a:solidFill>
                  <a:srgbClr val="00B0F0"/>
                </a:solidFill>
              </a:rPr>
              <a:t>Computer Technology Investigators Network (CITN)</a:t>
            </a:r>
          </a:p>
          <a:p>
            <a:r>
              <a:rPr lang="en-US" dirty="0">
                <a:solidFill>
                  <a:srgbClr val="00B0F0"/>
                </a:solidFill>
              </a:rPr>
              <a:t>Forensic Focus The Association of Digital Forensics, Security and Law (ADFSL)</a:t>
            </a:r>
          </a:p>
          <a:p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1309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72DEDB7-C7B8-6026-0496-D91CEEFFF2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9C5A7-07BB-5F59-7D69-03ED56BFB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029E9B-6007-A2AC-66EB-F9B02F0F6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29</a:t>
            </a:fld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9416E41-B65F-AC8D-225D-5820D8FF97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145600"/>
            <a:ext cx="7886700" cy="37113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996329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71DCC-6549-1329-1713-C89BE3657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 of Computer Forensic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B20188E-0252-CB12-982C-524BA2122A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415307"/>
            <a:ext cx="7886700" cy="31719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2884A-C4C8-7150-985C-74BBF57BC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3837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F67D2C0-BAF6-A102-C866-C69C6AA8F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8A112-C6AB-18FD-EB4B-096AF9168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 Standard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25947C-5673-8928-AD47-7DD1299A5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0</a:t>
            </a:fld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ABE31BB-62F3-31F7-4DEC-2F6A895097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176616"/>
            <a:ext cx="7886700" cy="3649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3915158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37BEBE0-2D29-E2D6-0335-E9DF9FFC2C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67956-1AB5-1AF7-A537-DD43AE765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 Standard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64DD9-8DBD-3C67-658A-83092C355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1</a:t>
            </a:fld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3742CFD-A809-A939-35E5-A482FCB328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185445"/>
            <a:ext cx="7886700" cy="36316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589856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AC228AC-C5A8-B616-C92C-2BE8F84CD7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C8514-63C2-A8D0-0BC1-C255710F7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 Standard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856451-6834-5D9A-7AD4-7D05961B8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2</a:t>
            </a:fld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1E7F8CD-46A2-210F-5CFA-9B0F8AAEC7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231139"/>
            <a:ext cx="7886700" cy="35403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866401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01C5AC8-A0E6-353E-FE69-891D6036D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6C9F3-2FE0-94C8-D5AE-8AE7B343F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Computer Forensics International Standard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A95E80-F36F-65D7-1C9C-BBB217FC4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EAACE9-DC48-6198-29D5-C596646A0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2514" y="1487156"/>
            <a:ext cx="7992836" cy="4689807"/>
          </a:xfrm>
        </p:spPr>
        <p:txBody>
          <a:bodyPr>
            <a:normAutofit fontScale="925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Gramm-Leach-Bliley Act (BLA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Federal Information Security Modernization Act (FISMA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Health Insurance Portability and Accountability Act (HIPPA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Electronic Communications Privacy Ac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General Data Protection Regulation (GDPR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Data Protection Act (DPA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Payment Card Industry Data Security Standard (PCI-DSS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Sarbanes-Oxley Act (SOX)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4534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E8064EE-FA20-D06B-1E74-6E5DB3AE2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background with black text">
            <a:extLst>
              <a:ext uri="{FF2B5EF4-FFF2-40B4-BE49-F238E27FC236}">
                <a16:creationId xmlns:a16="http://schemas.microsoft.com/office/drawing/2014/main" id="{7ACD7720-1CDB-6CD6-9B18-C9D9E4F924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59" y="857250"/>
            <a:ext cx="9144000" cy="51435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8AB94B1-F67E-45A1-8B58-7113CEF1573D}"/>
              </a:ext>
            </a:extLst>
          </p:cNvPr>
          <p:cNvSpPr txBox="1">
            <a:spLocks/>
          </p:cNvSpPr>
          <p:nvPr/>
        </p:nvSpPr>
        <p:spPr>
          <a:xfrm>
            <a:off x="71747" y="1186552"/>
            <a:ext cx="3638939" cy="615821"/>
          </a:xfrm>
          <a:prstGeom prst="rect">
            <a:avLst/>
          </a:prstGeom>
        </p:spPr>
        <p:txBody>
          <a:bodyPr>
            <a:normAutofit/>
          </a:bodyPr>
          <a:lstStyle>
            <a:lvl1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 kern="1200" spc="-5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3600" b="1" dirty="0">
                <a:solidFill>
                  <a:srgbClr val="FF00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Course Outlin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7C65E3-BE8A-C752-B44E-7D4132FA7675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2CA3EE-F2AE-37BE-F2A3-A5AD88744ABE}"/>
              </a:ext>
            </a:extLst>
          </p:cNvPr>
          <p:cNvSpPr txBox="1">
            <a:spLocks noChangeArrowheads="1"/>
          </p:cNvSpPr>
          <p:nvPr/>
        </p:nvSpPr>
        <p:spPr>
          <a:xfrm>
            <a:off x="220401" y="1802373"/>
            <a:ext cx="9143999" cy="402898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sz="2800" b="1" dirty="0">
                <a:solidFill>
                  <a:schemeClr val="bg1"/>
                </a:solidFill>
              </a:rPr>
              <a:t>Computer Forensics Investigation Process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b="1" dirty="0">
                <a:solidFill>
                  <a:schemeClr val="bg1"/>
                </a:solidFill>
              </a:rPr>
              <a:t>Understand the Forensic Investigation Process and Its Importance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b="1" dirty="0">
                <a:solidFill>
                  <a:schemeClr val="bg1"/>
                </a:solidFill>
              </a:rPr>
              <a:t>Understand First Response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b="1" dirty="0">
                <a:solidFill>
                  <a:schemeClr val="bg1"/>
                </a:solidFill>
              </a:rPr>
              <a:t>Understand the Pre-Investigation Phase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b="1" dirty="0">
                <a:solidFill>
                  <a:schemeClr val="bg1"/>
                </a:solidFill>
              </a:rPr>
              <a:t>Understand the Investigation Phase</a:t>
            </a:r>
          </a:p>
          <a:p>
            <a:pPr marL="714375" lvl="1" indent="-257175" algn="l">
              <a:buClr>
                <a:srgbClr val="009DDC"/>
              </a:buClr>
              <a:buFont typeface="Wingdings" panose="05000000000000000000" pitchFamily="2" charset="2"/>
              <a:buChar char="q"/>
            </a:pPr>
            <a:r>
              <a:rPr lang="en-US" altLang="en-US" b="1" dirty="0">
                <a:solidFill>
                  <a:schemeClr val="bg1"/>
                </a:solidFill>
              </a:rPr>
              <a:t>Understand the Post-Investigation Phase</a:t>
            </a:r>
            <a:endParaRPr lang="en-US" altLang="en-US" sz="2400" b="1" dirty="0">
              <a:solidFill>
                <a:schemeClr val="bg1"/>
              </a:solidFill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7F0CDB9F-A409-69F0-A639-3B1027741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958BB0-21BF-BFD5-2982-E3D8DF82F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6676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DF7F0ED-5C29-3611-7EFF-42A31ADD79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E322EBF-D551-E35F-DD55-809AF0CE5912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9D7D862A-B9B7-82B1-FF3F-8C2BEF601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BC5CFB9-3E03-E436-3434-4CEBFE33E454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Investigation Proc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5A5EF4-61D0-4F7E-089A-080507C0AA93}"/>
              </a:ext>
            </a:extLst>
          </p:cNvPr>
          <p:cNvSpPr txBox="1"/>
          <p:nvPr/>
        </p:nvSpPr>
        <p:spPr>
          <a:xfrm>
            <a:off x="492369" y="1085222"/>
            <a:ext cx="64811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Methodological Approach to Investigat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Ensure of Integrit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Comply to Standards and Local Law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Follow repeatable and well documented set of step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4AC17B9-C493-63DF-13D1-C940C5A7DB2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836" y="2337216"/>
            <a:ext cx="7515359" cy="34516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C653E0-2362-5377-042F-FBC13603F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1504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6090615-F9A8-BF05-C144-0B9ED25389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3EB545C-6D2D-FD4B-31D0-BED2E772EE16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4552263" cy="1718379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Wingdings" panose="05000000000000000000" pitchFamily="2" charset="2"/>
              <a:buChar char="v"/>
            </a:pPr>
            <a:r>
              <a:rPr lang="en-US" sz="1800" b="1" dirty="0">
                <a:solidFill>
                  <a:schemeClr val="tx1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Arrives First to Crime Scene</a:t>
            </a:r>
          </a:p>
          <a:p>
            <a:pPr algn="l">
              <a:buFont typeface="Wingdings" panose="05000000000000000000" pitchFamily="2" charset="2"/>
              <a:buChar char="v"/>
            </a:pPr>
            <a:r>
              <a:rPr lang="en-US" sz="1800" b="1" dirty="0">
                <a:solidFill>
                  <a:schemeClr val="tx1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Law Enforcement</a:t>
            </a:r>
          </a:p>
          <a:p>
            <a:pPr algn="l">
              <a:buFont typeface="Wingdings" panose="05000000000000000000" pitchFamily="2" charset="2"/>
              <a:buChar char="v"/>
            </a:pPr>
            <a:r>
              <a:rPr lang="en-US" sz="1800" b="1" dirty="0">
                <a:solidFill>
                  <a:schemeClr val="tx1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Preserving the Evidence</a:t>
            </a:r>
          </a:p>
          <a:p>
            <a:pPr algn="l">
              <a:buFont typeface="Wingdings" panose="05000000000000000000" pitchFamily="2" charset="2"/>
              <a:buChar char="v"/>
            </a:pPr>
            <a:r>
              <a:rPr lang="en-US" sz="1800" b="1" dirty="0">
                <a:solidFill>
                  <a:schemeClr val="tx1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Crime Scene in Lawful Manner</a:t>
            </a:r>
            <a:endParaRPr lang="ar-AE" sz="1800" b="1" dirty="0">
              <a:solidFill>
                <a:schemeClr val="tx1"/>
              </a:solidFill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B8F9A1CF-C580-70FB-8699-C5EF8FEB2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64090BA-DFC6-918D-F8B4-30B95F718816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First Respons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38C4BE16-0D45-DF2F-A3CB-9C46878B821E}"/>
              </a:ext>
            </a:extLst>
          </p:cNvPr>
          <p:cNvSpPr/>
          <p:nvPr/>
        </p:nvSpPr>
        <p:spPr>
          <a:xfrm rot="5400000">
            <a:off x="1958009" y="297847"/>
            <a:ext cx="288234" cy="237542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C50068E3-B7C1-FAC0-925B-9C2F5CB0A544}"/>
              </a:ext>
            </a:extLst>
          </p:cNvPr>
          <p:cNvSpPr/>
          <p:nvPr/>
        </p:nvSpPr>
        <p:spPr>
          <a:xfrm rot="5400000">
            <a:off x="2195551" y="297847"/>
            <a:ext cx="288234" cy="237542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09740159-AF52-8EE9-817A-0909836C1A4C}"/>
              </a:ext>
            </a:extLst>
          </p:cNvPr>
          <p:cNvSpPr/>
          <p:nvPr/>
        </p:nvSpPr>
        <p:spPr>
          <a:xfrm rot="5400000">
            <a:off x="2441543" y="297847"/>
            <a:ext cx="288234" cy="237542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6ED2AB-0B23-883C-F43C-4846406E8451}"/>
              </a:ext>
            </a:extLst>
          </p:cNvPr>
          <p:cNvSpPr txBox="1"/>
          <p:nvPr/>
        </p:nvSpPr>
        <p:spPr>
          <a:xfrm>
            <a:off x="3416440" y="391886"/>
            <a:ext cx="37442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First Action performed</a:t>
            </a:r>
          </a:p>
          <a:p>
            <a:pPr marL="342900" indent="-342900">
              <a:buAutoNum type="arabicPeriod"/>
            </a:pPr>
            <a:r>
              <a:rPr lang="en-US" dirty="0"/>
              <a:t>Prevents Further Damage</a:t>
            </a:r>
          </a:p>
          <a:p>
            <a:pPr marL="342900" indent="-342900">
              <a:buAutoNum type="arabicPeriod"/>
            </a:pPr>
            <a:r>
              <a:rPr lang="en-US" dirty="0"/>
              <a:t>Helps investigation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38A0D8A-F0C1-9B9A-EFE9-1F7C3F4435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3955688"/>
              </p:ext>
            </p:extLst>
          </p:nvPr>
        </p:nvGraphicFramePr>
        <p:xfrm>
          <a:off x="4390959" y="1601823"/>
          <a:ext cx="4479234" cy="35157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31797C6B-387C-0743-1F3F-9E6805D63E3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691" y="4411227"/>
            <a:ext cx="5621606" cy="23826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AA61129-E931-7500-A038-440C2516F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7448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437BDA2-B686-5745-D58E-C56F8ADE08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7D0A1778-2B95-B196-DEE9-7ACF5299DA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9BC9FF5-A410-9AF3-3C08-FAFC672514CA}"/>
              </a:ext>
            </a:extLst>
          </p:cNvPr>
          <p:cNvSpPr txBox="1"/>
          <p:nvPr/>
        </p:nvSpPr>
        <p:spPr>
          <a:xfrm>
            <a:off x="261257" y="190919"/>
            <a:ext cx="2763297" cy="707886"/>
          </a:xfrm>
          <a:custGeom>
            <a:avLst/>
            <a:gdLst>
              <a:gd name="csX0" fmla="*/ 0 w 2763297"/>
              <a:gd name="csY0" fmla="*/ 0 h 707886"/>
              <a:gd name="csX1" fmla="*/ 2763297 w 2763297"/>
              <a:gd name="csY1" fmla="*/ 0 h 707886"/>
              <a:gd name="csX2" fmla="*/ 2763297 w 2763297"/>
              <a:gd name="csY2" fmla="*/ 707886 h 707886"/>
              <a:gd name="csX3" fmla="*/ 0 w 2763297"/>
              <a:gd name="csY3" fmla="*/ 707886 h 707886"/>
              <a:gd name="csX4" fmla="*/ 0 w 2763297"/>
              <a:gd name="csY4" fmla="*/ 0 h 7078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707886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819784" y="179924"/>
                  <a:pt x="2818683" y="435337"/>
                  <a:pt x="2763297" y="707886"/>
                </a:cubicBezTo>
                <a:cubicBezTo>
                  <a:pt x="1598426" y="814206"/>
                  <a:pt x="485206" y="700237"/>
                  <a:pt x="0" y="707886"/>
                </a:cubicBezTo>
                <a:cubicBezTo>
                  <a:pt x="-11509" y="374079"/>
                  <a:pt x="-23686" y="326777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First Response</a:t>
            </a:r>
          </a:p>
          <a:p>
            <a:r>
              <a:rPr lang="en-US" sz="2000" b="1" dirty="0">
                <a:solidFill>
                  <a:srgbClr val="00B0F0"/>
                </a:solidFill>
              </a:rPr>
              <a:t>System/Network Admi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CB1E258-4087-F9F1-37BC-96BDA71F4A50}"/>
              </a:ext>
            </a:extLst>
          </p:cNvPr>
          <p:cNvSpPr/>
          <p:nvPr/>
        </p:nvSpPr>
        <p:spPr>
          <a:xfrm rot="5400000">
            <a:off x="1958009" y="297847"/>
            <a:ext cx="288234" cy="237542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F0D2E48A-0BA8-47D3-5B5C-102F83B9DBDF}"/>
              </a:ext>
            </a:extLst>
          </p:cNvPr>
          <p:cNvSpPr/>
          <p:nvPr/>
        </p:nvSpPr>
        <p:spPr>
          <a:xfrm rot="5400000">
            <a:off x="2195551" y="297847"/>
            <a:ext cx="288234" cy="237542"/>
          </a:xfrm>
          <a:prstGeom prst="triangle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1BC2857E-91BC-056B-9CEB-F06C5D791EC9}"/>
              </a:ext>
            </a:extLst>
          </p:cNvPr>
          <p:cNvSpPr/>
          <p:nvPr/>
        </p:nvSpPr>
        <p:spPr>
          <a:xfrm rot="5400000">
            <a:off x="2441543" y="297847"/>
            <a:ext cx="288234" cy="237542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AFE9AEC-96A5-C3C2-304C-6A62C23A2F85}"/>
              </a:ext>
            </a:extLst>
          </p:cNvPr>
          <p:cNvSpPr txBox="1"/>
          <p:nvPr/>
        </p:nvSpPr>
        <p:spPr>
          <a:xfrm>
            <a:off x="261257" y="1178564"/>
            <a:ext cx="673230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FFFF00"/>
                </a:solidFill>
              </a:rPr>
              <a:t>Based on the incident, system/network administrators can take the following measures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FF00"/>
                </a:solidFill>
              </a:rPr>
              <a:t>Record the contents of the screen if the computer is switched 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FF00"/>
                </a:solidFill>
              </a:rPr>
              <a:t>Transfer copies of system logs onto clean medi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FF00"/>
                </a:solidFill>
              </a:rPr>
              <a:t>If an ongoing attack is detected, seek top management approval before powering down any computing system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FF00"/>
                </a:solidFill>
              </a:rPr>
              <a:t>Isolate the computing systems and other digital devices from further use or tamper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FF00"/>
                </a:solidFill>
              </a:rPr>
              <a:t>Document every detail relevant to the incid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09079-218E-982C-4C5C-ED4374054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7</a:t>
            </a:fld>
            <a:endParaRPr lang="en-US"/>
          </a:p>
        </p:txBody>
      </p:sp>
      <p:pic>
        <p:nvPicPr>
          <p:cNvPr id="5122" name="Picture 2" descr="Dive Into Digital Forensics and ...">
            <a:extLst>
              <a:ext uri="{FF2B5EF4-FFF2-40B4-BE49-F238E27FC236}">
                <a16:creationId xmlns:a16="http://schemas.microsoft.com/office/drawing/2014/main" id="{1F04814E-222B-1C15-2A6C-06432B6FDF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1993" y="4229100"/>
            <a:ext cx="2857500" cy="16002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9776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20D9B2E-815F-1E10-E8C1-F962A11E6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CD07F43-F621-80E1-AA09-51502BC51EB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11546" y="48238"/>
            <a:ext cx="517295" cy="5172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F759FB82-7E9D-4F9D-790D-8E7B3C58B1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ACCC11-8FFB-53B5-6B8B-993E3B996D99}"/>
              </a:ext>
            </a:extLst>
          </p:cNvPr>
          <p:cNvSpPr txBox="1"/>
          <p:nvPr/>
        </p:nvSpPr>
        <p:spPr>
          <a:xfrm>
            <a:off x="261257" y="190919"/>
            <a:ext cx="2763297" cy="707886"/>
          </a:xfrm>
          <a:custGeom>
            <a:avLst/>
            <a:gdLst>
              <a:gd name="csX0" fmla="*/ 0 w 2763297"/>
              <a:gd name="csY0" fmla="*/ 0 h 707886"/>
              <a:gd name="csX1" fmla="*/ 2763297 w 2763297"/>
              <a:gd name="csY1" fmla="*/ 0 h 707886"/>
              <a:gd name="csX2" fmla="*/ 2763297 w 2763297"/>
              <a:gd name="csY2" fmla="*/ 707886 h 707886"/>
              <a:gd name="csX3" fmla="*/ 0 w 2763297"/>
              <a:gd name="csY3" fmla="*/ 707886 h 707886"/>
              <a:gd name="csX4" fmla="*/ 0 w 2763297"/>
              <a:gd name="csY4" fmla="*/ 0 h 7078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707886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819784" y="179924"/>
                  <a:pt x="2818683" y="435337"/>
                  <a:pt x="2763297" y="707886"/>
                </a:cubicBezTo>
                <a:cubicBezTo>
                  <a:pt x="1598426" y="814206"/>
                  <a:pt x="485206" y="700237"/>
                  <a:pt x="0" y="707886"/>
                </a:cubicBezTo>
                <a:cubicBezTo>
                  <a:pt x="-11509" y="374079"/>
                  <a:pt x="-23686" y="326777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First Response</a:t>
            </a:r>
          </a:p>
          <a:p>
            <a:r>
              <a:rPr lang="en-US" sz="2000" b="1" dirty="0">
                <a:solidFill>
                  <a:srgbClr val="00B0F0"/>
                </a:solidFill>
              </a:rPr>
              <a:t>Lab Forensic Staff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DEA88B6B-35F3-B089-93CA-ABF719A30095}"/>
              </a:ext>
            </a:extLst>
          </p:cNvPr>
          <p:cNvSpPr/>
          <p:nvPr/>
        </p:nvSpPr>
        <p:spPr>
          <a:xfrm rot="5400000">
            <a:off x="1958009" y="297847"/>
            <a:ext cx="288234" cy="237542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7D78A8F8-9C4E-4176-62D0-BBBBF22CC016}"/>
              </a:ext>
            </a:extLst>
          </p:cNvPr>
          <p:cNvSpPr/>
          <p:nvPr/>
        </p:nvSpPr>
        <p:spPr>
          <a:xfrm rot="5400000">
            <a:off x="2195551" y="297847"/>
            <a:ext cx="288234" cy="237542"/>
          </a:xfrm>
          <a:prstGeom prst="triangle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F3523339-A2CA-73EF-25F8-6013528C5B37}"/>
              </a:ext>
            </a:extLst>
          </p:cNvPr>
          <p:cNvSpPr/>
          <p:nvPr/>
        </p:nvSpPr>
        <p:spPr>
          <a:xfrm rot="5400000">
            <a:off x="2441543" y="297847"/>
            <a:ext cx="288234" cy="237542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B01B3E-F37D-9EE3-0A27-5874BB56CA77}"/>
              </a:ext>
            </a:extLst>
          </p:cNvPr>
          <p:cNvSpPr txBox="1"/>
          <p:nvPr/>
        </p:nvSpPr>
        <p:spPr>
          <a:xfrm>
            <a:off x="202594" y="1120676"/>
            <a:ext cx="673230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Photograph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Individual Interviews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Search and Seizure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Initial Search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Powered OFF/ON devices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Electronic Evidence Proper Details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Label the Containers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Chain of Custody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DF5868C-B953-FFA7-33AD-48A372BF10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5501373"/>
              </p:ext>
            </p:extLst>
          </p:nvPr>
        </p:nvGraphicFramePr>
        <p:xfrm>
          <a:off x="3959051" y="2369226"/>
          <a:ext cx="4982355" cy="36790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5A63B4-7E00-96DA-F821-91D06FCE1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1985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5A68BA8-D5FB-4D42-77EB-090835E8E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D2F7DD54-317A-B210-31EB-2FC9CE0E8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2DB2897-98E2-CF35-7538-194A8571F448}"/>
              </a:ext>
            </a:extLst>
          </p:cNvPr>
          <p:cNvSpPr txBox="1"/>
          <p:nvPr/>
        </p:nvSpPr>
        <p:spPr>
          <a:xfrm>
            <a:off x="261257" y="190919"/>
            <a:ext cx="2763297" cy="707886"/>
          </a:xfrm>
          <a:custGeom>
            <a:avLst/>
            <a:gdLst>
              <a:gd name="csX0" fmla="*/ 0 w 2763297"/>
              <a:gd name="csY0" fmla="*/ 0 h 707886"/>
              <a:gd name="csX1" fmla="*/ 2763297 w 2763297"/>
              <a:gd name="csY1" fmla="*/ 0 h 707886"/>
              <a:gd name="csX2" fmla="*/ 2763297 w 2763297"/>
              <a:gd name="csY2" fmla="*/ 707886 h 707886"/>
              <a:gd name="csX3" fmla="*/ 0 w 2763297"/>
              <a:gd name="csY3" fmla="*/ 707886 h 707886"/>
              <a:gd name="csX4" fmla="*/ 0 w 2763297"/>
              <a:gd name="csY4" fmla="*/ 0 h 7078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707886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819784" y="179924"/>
                  <a:pt x="2818683" y="435337"/>
                  <a:pt x="2763297" y="707886"/>
                </a:cubicBezTo>
                <a:cubicBezTo>
                  <a:pt x="1598426" y="814206"/>
                  <a:pt x="485206" y="700237"/>
                  <a:pt x="0" y="707886"/>
                </a:cubicBezTo>
                <a:cubicBezTo>
                  <a:pt x="-11509" y="374079"/>
                  <a:pt x="-23686" y="326777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Setup up</a:t>
            </a:r>
          </a:p>
          <a:p>
            <a:r>
              <a:rPr lang="en-US" sz="2000" b="1" dirty="0">
                <a:solidFill>
                  <a:srgbClr val="00B0F0"/>
                </a:solidFill>
              </a:rPr>
              <a:t>Computer Forensic Lab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420018F8-C909-8A45-9ECC-9C6DF60F0855}"/>
              </a:ext>
            </a:extLst>
          </p:cNvPr>
          <p:cNvSpPr/>
          <p:nvPr/>
        </p:nvSpPr>
        <p:spPr>
          <a:xfrm rot="5400000">
            <a:off x="1958009" y="297847"/>
            <a:ext cx="288234" cy="237542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84DA15C-2428-84BA-8352-1340BA590923}"/>
              </a:ext>
            </a:extLst>
          </p:cNvPr>
          <p:cNvSpPr/>
          <p:nvPr/>
        </p:nvSpPr>
        <p:spPr>
          <a:xfrm rot="5400000">
            <a:off x="2195551" y="297847"/>
            <a:ext cx="288234" cy="237542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9C8B7163-BF2C-E5E4-F257-29743AAC8CF7}"/>
              </a:ext>
            </a:extLst>
          </p:cNvPr>
          <p:cNvSpPr/>
          <p:nvPr/>
        </p:nvSpPr>
        <p:spPr>
          <a:xfrm rot="5400000">
            <a:off x="2441543" y="297847"/>
            <a:ext cx="288234" cy="237542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7A1CC3-F8F7-B430-262D-E5094611F924}"/>
              </a:ext>
            </a:extLst>
          </p:cNvPr>
          <p:cNvSpPr txBox="1"/>
          <p:nvPr/>
        </p:nvSpPr>
        <p:spPr>
          <a:xfrm>
            <a:off x="202594" y="1120676"/>
            <a:ext cx="673230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Planning and Budgeting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Physical and Structural Design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Work Area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Physical Security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Human Resources</a:t>
            </a:r>
          </a:p>
          <a:p>
            <a:pPr marL="342900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Forensic Lab Licensing</a:t>
            </a:r>
          </a:p>
          <a:p>
            <a:pPr marL="800100" lvl="1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ISO/IEC 17025 accreditation</a:t>
            </a:r>
          </a:p>
          <a:p>
            <a:pPr marL="800100" lvl="1" indent="-342900">
              <a:buAutoNum type="arabicPeriod"/>
            </a:pPr>
            <a:r>
              <a:rPr lang="en-US" b="1" dirty="0">
                <a:solidFill>
                  <a:srgbClr val="FFFF00"/>
                </a:solidFill>
              </a:rPr>
              <a:t>ASCLD/Lab Accredita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56B7BFF-F1C4-3405-F483-1EA5E6870382}"/>
              </a:ext>
            </a:extLst>
          </p:cNvPr>
          <p:cNvSpPr/>
          <p:nvPr/>
        </p:nvSpPr>
        <p:spPr>
          <a:xfrm>
            <a:off x="5178248" y="416618"/>
            <a:ext cx="2210637" cy="156725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Investigation Team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9841DF3-7C2F-DCB7-4CA8-38F5B4D88A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300250"/>
              </p:ext>
            </p:extLst>
          </p:nvPr>
        </p:nvGraphicFramePr>
        <p:xfrm>
          <a:off x="5101211" y="1983876"/>
          <a:ext cx="2364713" cy="4823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88D81E-77F7-5848-D9CF-2B7E39DB1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580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DDA9203-F260-D873-02FB-A100CA4EB0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E830B-E047-D8E4-B96A-0A95505A4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Crim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48C50E1-5813-4C7A-0068-FCC32D3E15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608828"/>
            <a:ext cx="7886700" cy="278493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26C686-11C9-2357-0BE9-A663B3FB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10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B9820BF-BFDC-E244-8B63-5CF398D2B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C4AD5FF1-4130-B849-129A-3DAAA5557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A1CCBEC-66D3-1D51-F35F-BAA79C51C4C2}"/>
              </a:ext>
            </a:extLst>
          </p:cNvPr>
          <p:cNvSpPr txBox="1"/>
          <p:nvPr/>
        </p:nvSpPr>
        <p:spPr>
          <a:xfrm>
            <a:off x="261257" y="190919"/>
            <a:ext cx="3014506" cy="707886"/>
          </a:xfrm>
          <a:custGeom>
            <a:avLst/>
            <a:gdLst>
              <a:gd name="csX0" fmla="*/ 0 w 3014506"/>
              <a:gd name="csY0" fmla="*/ 0 h 707886"/>
              <a:gd name="csX1" fmla="*/ 3014506 w 3014506"/>
              <a:gd name="csY1" fmla="*/ 0 h 707886"/>
              <a:gd name="csX2" fmla="*/ 3014506 w 3014506"/>
              <a:gd name="csY2" fmla="*/ 707886 h 707886"/>
              <a:gd name="csX3" fmla="*/ 0 w 3014506"/>
              <a:gd name="csY3" fmla="*/ 707886 h 707886"/>
              <a:gd name="csX4" fmla="*/ 0 w 3014506"/>
              <a:gd name="csY4" fmla="*/ 0 h 7078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014506" h="707886" extrusionOk="0">
                <a:moveTo>
                  <a:pt x="0" y="0"/>
                </a:moveTo>
                <a:cubicBezTo>
                  <a:pt x="385175" y="-5264"/>
                  <a:pt x="2007051" y="84467"/>
                  <a:pt x="3014506" y="0"/>
                </a:cubicBezTo>
                <a:cubicBezTo>
                  <a:pt x="3070993" y="179924"/>
                  <a:pt x="3069892" y="435337"/>
                  <a:pt x="3014506" y="707886"/>
                </a:cubicBezTo>
                <a:cubicBezTo>
                  <a:pt x="1623547" y="814206"/>
                  <a:pt x="510306" y="700237"/>
                  <a:pt x="0" y="707886"/>
                </a:cubicBezTo>
                <a:cubicBezTo>
                  <a:pt x="-11509" y="374079"/>
                  <a:pt x="-23686" y="326777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Hardware</a:t>
            </a:r>
          </a:p>
          <a:p>
            <a:r>
              <a:rPr lang="en-US" sz="2000" b="1" dirty="0">
                <a:solidFill>
                  <a:srgbClr val="00B0F0"/>
                </a:solidFill>
              </a:rPr>
              <a:t>Software of Forensic Lab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3A47863B-F49F-B31A-F610-5DE5CDED38CB}"/>
              </a:ext>
            </a:extLst>
          </p:cNvPr>
          <p:cNvSpPr/>
          <p:nvPr/>
        </p:nvSpPr>
        <p:spPr>
          <a:xfrm rot="5400000">
            <a:off x="1958009" y="297847"/>
            <a:ext cx="288234" cy="237542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4A522A-98B3-3052-0F1A-85FD0883ED5A}"/>
              </a:ext>
            </a:extLst>
          </p:cNvPr>
          <p:cNvSpPr/>
          <p:nvPr/>
        </p:nvSpPr>
        <p:spPr>
          <a:xfrm rot="5400000">
            <a:off x="2195551" y="297847"/>
            <a:ext cx="288234" cy="237542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B0F83CDE-E0E5-5981-4B9F-53CAA518CD3B}"/>
              </a:ext>
            </a:extLst>
          </p:cNvPr>
          <p:cNvSpPr/>
          <p:nvPr/>
        </p:nvSpPr>
        <p:spPr>
          <a:xfrm rot="5400000">
            <a:off x="2441543" y="297847"/>
            <a:ext cx="288234" cy="237542"/>
          </a:xfrm>
          <a:prstGeom prst="homePlat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CFD521-2182-D6DB-1EC2-F56B519DE4D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257" y="1600087"/>
            <a:ext cx="8711921" cy="38487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C1166-50C4-E52C-6A1B-4E0DDC3EA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96860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C515C68-83E9-3B28-F6FF-A0AC32B1B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3151A7B9-B19E-CEC6-5171-DB6E14CEA0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1D562DD-DCF4-9A25-E327-9BBE1819332F}"/>
              </a:ext>
            </a:extLst>
          </p:cNvPr>
          <p:cNvSpPr txBox="1"/>
          <p:nvPr/>
        </p:nvSpPr>
        <p:spPr>
          <a:xfrm>
            <a:off x="261257" y="190919"/>
            <a:ext cx="3366198" cy="400110"/>
          </a:xfrm>
          <a:custGeom>
            <a:avLst/>
            <a:gdLst>
              <a:gd name="csX0" fmla="*/ 0 w 3366198"/>
              <a:gd name="csY0" fmla="*/ 0 h 400110"/>
              <a:gd name="csX1" fmla="*/ 3366198 w 3366198"/>
              <a:gd name="csY1" fmla="*/ 0 h 400110"/>
              <a:gd name="csX2" fmla="*/ 3366198 w 3366198"/>
              <a:gd name="csY2" fmla="*/ 400110 h 400110"/>
              <a:gd name="csX3" fmla="*/ 0 w 3366198"/>
              <a:gd name="csY3" fmla="*/ 400110 h 400110"/>
              <a:gd name="csX4" fmla="*/ 0 w 3366198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366198" h="400110" extrusionOk="0">
                <a:moveTo>
                  <a:pt x="0" y="0"/>
                </a:moveTo>
                <a:cubicBezTo>
                  <a:pt x="1304718" y="-5264"/>
                  <a:pt x="2685696" y="84467"/>
                  <a:pt x="3366198" y="0"/>
                </a:cubicBezTo>
                <a:cubicBezTo>
                  <a:pt x="3330624" y="133488"/>
                  <a:pt x="3336297" y="290440"/>
                  <a:pt x="3366198" y="400110"/>
                </a:cubicBezTo>
                <a:cubicBezTo>
                  <a:pt x="1859681" y="506430"/>
                  <a:pt x="104762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Validation of Forensic Lab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6AA35E1E-683D-910B-A679-878FB158CDD4}"/>
              </a:ext>
            </a:extLst>
          </p:cNvPr>
          <p:cNvSpPr/>
          <p:nvPr/>
        </p:nvSpPr>
        <p:spPr>
          <a:xfrm rot="5400000">
            <a:off x="3043231" y="288994"/>
            <a:ext cx="288234" cy="237542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FEBFE21-E43B-7D27-423D-BE35BD298D07}"/>
              </a:ext>
            </a:extLst>
          </p:cNvPr>
          <p:cNvSpPr/>
          <p:nvPr/>
        </p:nvSpPr>
        <p:spPr>
          <a:xfrm rot="5400000">
            <a:off x="3280773" y="288994"/>
            <a:ext cx="288234" cy="237542"/>
          </a:xfrm>
          <a:prstGeom prst="ellipse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652B98-C142-A76B-AF31-8F29DF5141A3}"/>
              </a:ext>
            </a:extLst>
          </p:cNvPr>
          <p:cNvSpPr/>
          <p:nvPr/>
        </p:nvSpPr>
        <p:spPr>
          <a:xfrm>
            <a:off x="422139" y="654277"/>
            <a:ext cx="7144270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Validation Process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ecise Results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orensic Lab License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Latest version of Tools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per Maintenance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Document Test Methodology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OP (Standard Operating Procedure)</a:t>
            </a:r>
          </a:p>
          <a:p>
            <a:pPr marL="914400" indent="-914400">
              <a:buFont typeface="Wingdings" panose="05000000000000000000" pitchFamily="2" charset="2"/>
              <a:buChar char="q"/>
            </a:pP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FTT (Computer Forensic Tool Testing Project)</a:t>
            </a:r>
            <a:endParaRPr lang="en-US" sz="2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E81525-E792-F271-3828-46F3515003E2}"/>
              </a:ext>
            </a:extLst>
          </p:cNvPr>
          <p:cNvSpPr txBox="1"/>
          <p:nvPr/>
        </p:nvSpPr>
        <p:spPr>
          <a:xfrm>
            <a:off x="592493" y="4139921"/>
            <a:ext cx="6019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FF00"/>
                </a:solidFill>
              </a:rPr>
              <a:t>Ensure Quality Assuranc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5BE07F-7156-E21D-84D7-BF4D4B803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1365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84C3BCA-4944-D983-BF5D-DBF1AD8B1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0E82044-38BA-D752-2FA6-0C9A99F71702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548639E3-B0E8-37EE-F301-13952FDBC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3A975C-4B64-3543-46D2-D8FDA48BE0C0}"/>
              </a:ext>
            </a:extLst>
          </p:cNvPr>
          <p:cNvSpPr txBox="1"/>
          <p:nvPr/>
        </p:nvSpPr>
        <p:spPr>
          <a:xfrm>
            <a:off x="261257" y="190919"/>
            <a:ext cx="5355772" cy="400110"/>
          </a:xfrm>
          <a:custGeom>
            <a:avLst/>
            <a:gdLst>
              <a:gd name="csX0" fmla="*/ 0 w 5355772"/>
              <a:gd name="csY0" fmla="*/ 0 h 400110"/>
              <a:gd name="csX1" fmla="*/ 5355772 w 5355772"/>
              <a:gd name="csY1" fmla="*/ 0 h 400110"/>
              <a:gd name="csX2" fmla="*/ 5355772 w 5355772"/>
              <a:gd name="csY2" fmla="*/ 400110 h 400110"/>
              <a:gd name="csX3" fmla="*/ 0 w 5355772"/>
              <a:gd name="csY3" fmla="*/ 400110 h 400110"/>
              <a:gd name="csX4" fmla="*/ 0 w 5355772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355772" h="400110" extrusionOk="0">
                <a:moveTo>
                  <a:pt x="0" y="0"/>
                </a:moveTo>
                <a:cubicBezTo>
                  <a:pt x="595442" y="-5264"/>
                  <a:pt x="4127074" y="84467"/>
                  <a:pt x="5355772" y="0"/>
                </a:cubicBezTo>
                <a:cubicBezTo>
                  <a:pt x="5320198" y="133488"/>
                  <a:pt x="5325871" y="290440"/>
                  <a:pt x="5355772" y="400110"/>
                </a:cubicBezTo>
                <a:cubicBezTo>
                  <a:pt x="3590005" y="506430"/>
                  <a:pt x="1362833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Documenting Electronic Crime Scene</a:t>
            </a:r>
          </a:p>
        </p:txBody>
      </p:sp>
      <p:sp>
        <p:nvSpPr>
          <p:cNvPr id="4" name="Arrow: Left-Up 3">
            <a:extLst>
              <a:ext uri="{FF2B5EF4-FFF2-40B4-BE49-F238E27FC236}">
                <a16:creationId xmlns:a16="http://schemas.microsoft.com/office/drawing/2014/main" id="{94C61D86-2346-367D-C144-64D157F7F6EC}"/>
              </a:ext>
            </a:extLst>
          </p:cNvPr>
          <p:cNvSpPr/>
          <p:nvPr/>
        </p:nvSpPr>
        <p:spPr>
          <a:xfrm rot="5400000">
            <a:off x="4640918" y="297847"/>
            <a:ext cx="288234" cy="237542"/>
          </a:xfrm>
          <a:prstGeom prst="leftUp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31216E-8A4C-C77F-A290-A5C385C6DD75}"/>
              </a:ext>
            </a:extLst>
          </p:cNvPr>
          <p:cNvSpPr/>
          <p:nvPr/>
        </p:nvSpPr>
        <p:spPr>
          <a:xfrm rot="5400000">
            <a:off x="4878460" y="297847"/>
            <a:ext cx="288234" cy="237542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Bent-Up 6">
            <a:extLst>
              <a:ext uri="{FF2B5EF4-FFF2-40B4-BE49-F238E27FC236}">
                <a16:creationId xmlns:a16="http://schemas.microsoft.com/office/drawing/2014/main" id="{341287E0-82F1-C3AD-C7A9-D0183B05AE52}"/>
              </a:ext>
            </a:extLst>
          </p:cNvPr>
          <p:cNvSpPr/>
          <p:nvPr/>
        </p:nvSpPr>
        <p:spPr>
          <a:xfrm rot="5400000">
            <a:off x="5124452" y="297847"/>
            <a:ext cx="288234" cy="237542"/>
          </a:xfrm>
          <a:prstGeom prst="bentUpArrow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A907D4-8EED-C485-8217-5089C223C1E5}"/>
              </a:ext>
            </a:extLst>
          </p:cNvPr>
          <p:cNvSpPr txBox="1"/>
          <p:nvPr/>
        </p:nvSpPr>
        <p:spPr>
          <a:xfrm>
            <a:off x="673240" y="1245996"/>
            <a:ext cx="352288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Document Physical Crime Scene</a:t>
            </a:r>
          </a:p>
          <a:p>
            <a:pPr marL="342900" indent="-342900">
              <a:buAutoNum type="arabicPeriod"/>
            </a:pPr>
            <a:r>
              <a:rPr lang="en-US" dirty="0"/>
              <a:t>Electronic Components</a:t>
            </a:r>
          </a:p>
          <a:p>
            <a:pPr marL="342900" indent="-342900">
              <a:buAutoNum type="arabicPeriod"/>
            </a:pPr>
            <a:r>
              <a:rPr lang="en-US" dirty="0"/>
              <a:t>State of Computer Systems</a:t>
            </a:r>
          </a:p>
          <a:p>
            <a:pPr marL="342900" indent="-342900">
              <a:buAutoNum type="arabicPeriod"/>
            </a:pPr>
            <a:r>
              <a:rPr lang="en-US" dirty="0"/>
              <a:t>Computer Monitor Screen</a:t>
            </a:r>
          </a:p>
          <a:p>
            <a:pPr marL="342900" indent="-342900">
              <a:buAutoNum type="arabicPeriod"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F245E6-6FFB-39DD-12C8-9058685FC92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124" y="2621817"/>
            <a:ext cx="7571784" cy="4150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26BDBBE-4660-34D1-0FBA-DFB260D6F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2660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A214519-10CD-77E6-7215-5760DD105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DD5F6A6-D510-95E6-4BCB-BEEB44F546E2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4C467CAB-0588-4563-D02C-E0115614A1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9DC7E41-F6AD-121C-1923-6C8BD76F8668}"/>
              </a:ext>
            </a:extLst>
          </p:cNvPr>
          <p:cNvSpPr txBox="1"/>
          <p:nvPr/>
        </p:nvSpPr>
        <p:spPr>
          <a:xfrm>
            <a:off x="261257" y="190919"/>
            <a:ext cx="3295859" cy="400110"/>
          </a:xfrm>
          <a:custGeom>
            <a:avLst/>
            <a:gdLst>
              <a:gd name="csX0" fmla="*/ 0 w 3295859"/>
              <a:gd name="csY0" fmla="*/ 0 h 400110"/>
              <a:gd name="csX1" fmla="*/ 3295859 w 3295859"/>
              <a:gd name="csY1" fmla="*/ 0 h 400110"/>
              <a:gd name="csX2" fmla="*/ 3295859 w 3295859"/>
              <a:gd name="csY2" fmla="*/ 400110 h 400110"/>
              <a:gd name="csX3" fmla="*/ 0 w 3295859"/>
              <a:gd name="csY3" fmla="*/ 400110 h 400110"/>
              <a:gd name="csX4" fmla="*/ 0 w 3295859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295859" h="400110" extrusionOk="0">
                <a:moveTo>
                  <a:pt x="0" y="0"/>
                </a:moveTo>
                <a:cubicBezTo>
                  <a:pt x="718987" y="-5264"/>
                  <a:pt x="2437786" y="84467"/>
                  <a:pt x="3295859" y="0"/>
                </a:cubicBezTo>
                <a:cubicBezTo>
                  <a:pt x="3260285" y="133488"/>
                  <a:pt x="3265958" y="290440"/>
                  <a:pt x="3295859" y="400110"/>
                </a:cubicBezTo>
                <a:cubicBezTo>
                  <a:pt x="2889636" y="506430"/>
                  <a:pt x="1486539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Planning Search and Seiz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73ACE5-0EA4-7B45-A8D1-6CB6129046DD}"/>
              </a:ext>
            </a:extLst>
          </p:cNvPr>
          <p:cNvSpPr txBox="1"/>
          <p:nvPr/>
        </p:nvSpPr>
        <p:spPr>
          <a:xfrm>
            <a:off x="261257" y="1017766"/>
            <a:ext cx="695848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Description of the inciden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Case name or title of the inciden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Location of the inciden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Applicable jurisdiction and relevant legislation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Determining the extent of authority to search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Creating a chain of custody documen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Details of equipment to be seized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Search and seizure type (overt/covert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Approval from local managemen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/>
              <a:t>Health and safety precau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E64C43-E93D-1A8D-183A-65C806DE9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3</a:t>
            </a:fld>
            <a:endParaRPr lang="en-US"/>
          </a:p>
        </p:txBody>
      </p:sp>
      <p:pic>
        <p:nvPicPr>
          <p:cNvPr id="1026" name="Picture 2" descr="Seizure of Digital Evidence ...">
            <a:extLst>
              <a:ext uri="{FF2B5EF4-FFF2-40B4-BE49-F238E27FC236}">
                <a16:creationId xmlns:a16="http://schemas.microsoft.com/office/drawing/2014/main" id="{B50BD16D-7FA2-54B6-6931-D78FC289E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2492" y="2979311"/>
            <a:ext cx="3490915" cy="241778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6602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0E0A729-9A44-4540-A3B2-1B7B812196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5817F20-7CA2-5740-3D2B-F2745BC98648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C9C01144-0650-7B94-D177-6E7B063904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CEE29F-9BA5-B76F-5180-5FCC8C0D1EB2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Seeking Cons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C3591-189E-5C3E-CC10-CEDA497FD3A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257" y="890953"/>
            <a:ext cx="7546312" cy="53694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E65DC1-973B-5001-F657-98C8972BC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62243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E70D5AF-187F-7021-9379-DF0D1611F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A85BC3-07D7-8471-13FC-02B3E97A4777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684C4073-9E58-4238-8A39-591CFCA1AA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79B813-810B-DDA2-CFCF-A7EAA6AF9FFF}"/>
              </a:ext>
            </a:extLst>
          </p:cNvPr>
          <p:cNvSpPr txBox="1"/>
          <p:nvPr/>
        </p:nvSpPr>
        <p:spPr>
          <a:xfrm>
            <a:off x="261257" y="190919"/>
            <a:ext cx="3587262" cy="400110"/>
          </a:xfrm>
          <a:custGeom>
            <a:avLst/>
            <a:gdLst>
              <a:gd name="csX0" fmla="*/ 0 w 3587262"/>
              <a:gd name="csY0" fmla="*/ 0 h 400110"/>
              <a:gd name="csX1" fmla="*/ 3587262 w 3587262"/>
              <a:gd name="csY1" fmla="*/ 0 h 400110"/>
              <a:gd name="csX2" fmla="*/ 3587262 w 3587262"/>
              <a:gd name="csY2" fmla="*/ 400110 h 400110"/>
              <a:gd name="csX3" fmla="*/ 0 w 3587262"/>
              <a:gd name="csY3" fmla="*/ 400110 h 400110"/>
              <a:gd name="csX4" fmla="*/ 0 w 3587262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587262" h="400110" extrusionOk="0">
                <a:moveTo>
                  <a:pt x="0" y="0"/>
                </a:moveTo>
                <a:cubicBezTo>
                  <a:pt x="454612" y="-5264"/>
                  <a:pt x="2727852" y="84467"/>
                  <a:pt x="3587262" y="0"/>
                </a:cubicBezTo>
                <a:cubicBezTo>
                  <a:pt x="3551688" y="133488"/>
                  <a:pt x="3557361" y="290440"/>
                  <a:pt x="3587262" y="400110"/>
                </a:cubicBezTo>
                <a:cubicBezTo>
                  <a:pt x="2766043" y="506430"/>
                  <a:pt x="422651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Obtain Witness Signa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6A7095-F553-D4EF-C8C3-A4779AF5D65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258" y="894974"/>
            <a:ext cx="7656844" cy="52522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6F233E-29CA-371D-37B2-D130213B4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01685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67C15C0-3DFC-3E45-154D-F41AB70DE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928265B-B49B-B403-51B4-9F16D1DEE3AC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EC5930D5-8697-9BA4-1215-C2E411880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23F384-437D-928E-B520-1CA1CA3489C7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Search Warra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63FD2D-12A7-A003-7AA2-9286140E55C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691" y="837066"/>
            <a:ext cx="7825259" cy="53970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242E12-083B-1C00-8B1D-012F4D22C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6326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84F949F-4850-2774-1B31-1DF126CF3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405FED6-1DEE-9F4A-DCA2-6A05D9E4FEE6}"/>
              </a:ext>
            </a:extLst>
          </p:cNvPr>
          <p:cNvSpPr txBox="1">
            <a:spLocks/>
          </p:cNvSpPr>
          <p:nvPr/>
        </p:nvSpPr>
        <p:spPr>
          <a:xfrm>
            <a:off x="386415" y="1034869"/>
            <a:ext cx="8631894" cy="5396076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Adhering to departmental policies and applicable laws, first responders must gather the following information about victim devices and connected systems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Actual holders and/or users of any electronic device present at the crime scen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Web mail and social networking website account informa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Usernam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Internet service provider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Passwords required to access the resourc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Purpose of using the system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Automatic applications in us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Any offsite data storag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Unique security schemes or destructive devic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b="1" dirty="0">
                <a:solidFill>
                  <a:srgbClr val="FFFF00"/>
                </a:solidFill>
                <a:latin typeface="Simplified Arabic" panose="02020603050405020304" pitchFamily="18" charset="-78"/>
                <a:cs typeface="Simplified Arabic" panose="02020603050405020304" pitchFamily="18" charset="-78"/>
              </a:rPr>
              <a:t>Documents detailing the installation of hardware or software on the system</a:t>
            </a: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3828A4C5-B740-1783-D85A-81B66B85B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891918A-C08F-3947-8328-CD3EF3678A8D}"/>
              </a:ext>
            </a:extLst>
          </p:cNvPr>
          <p:cNvSpPr txBox="1"/>
          <p:nvPr/>
        </p:nvSpPr>
        <p:spPr>
          <a:xfrm>
            <a:off x="261257" y="190919"/>
            <a:ext cx="3597310" cy="400110"/>
          </a:xfrm>
          <a:custGeom>
            <a:avLst/>
            <a:gdLst>
              <a:gd name="csX0" fmla="*/ 0 w 3597310"/>
              <a:gd name="csY0" fmla="*/ 0 h 400110"/>
              <a:gd name="csX1" fmla="*/ 3597310 w 3597310"/>
              <a:gd name="csY1" fmla="*/ 0 h 400110"/>
              <a:gd name="csX2" fmla="*/ 3597310 w 3597310"/>
              <a:gd name="csY2" fmla="*/ 400110 h 400110"/>
              <a:gd name="csX3" fmla="*/ 0 w 3597310"/>
              <a:gd name="csY3" fmla="*/ 400110 h 400110"/>
              <a:gd name="csX4" fmla="*/ 0 w 3597310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597310" h="400110" extrusionOk="0">
                <a:moveTo>
                  <a:pt x="0" y="0"/>
                </a:moveTo>
                <a:cubicBezTo>
                  <a:pt x="1641384" y="-5264"/>
                  <a:pt x="3038541" y="84467"/>
                  <a:pt x="3597310" y="0"/>
                </a:cubicBezTo>
                <a:cubicBezTo>
                  <a:pt x="3561736" y="133488"/>
                  <a:pt x="3567409" y="290440"/>
                  <a:pt x="3597310" y="400110"/>
                </a:cubicBezTo>
                <a:cubicBezTo>
                  <a:pt x="2807240" y="506430"/>
                  <a:pt x="1372084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Collect Incident Inform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15435D-3709-29F6-5F4F-BCDAE9BA9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30415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33F2BA6-97B1-9FC3-AD0E-365A7BC871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BF1AFAA-0A8B-A0FB-A1C5-D55CD769DC44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83096AB4-68E7-A772-5729-F646B22D9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262C034-22B3-60A7-FA14-FFBF16FB4303}"/>
              </a:ext>
            </a:extLst>
          </p:cNvPr>
          <p:cNvSpPr txBox="1"/>
          <p:nvPr/>
        </p:nvSpPr>
        <p:spPr>
          <a:xfrm>
            <a:off x="261257" y="190919"/>
            <a:ext cx="5034224" cy="400110"/>
          </a:xfrm>
          <a:custGeom>
            <a:avLst/>
            <a:gdLst>
              <a:gd name="csX0" fmla="*/ 0 w 5034224"/>
              <a:gd name="csY0" fmla="*/ 0 h 400110"/>
              <a:gd name="csX1" fmla="*/ 5034224 w 5034224"/>
              <a:gd name="csY1" fmla="*/ 0 h 400110"/>
              <a:gd name="csX2" fmla="*/ 5034224 w 5034224"/>
              <a:gd name="csY2" fmla="*/ 400110 h 400110"/>
              <a:gd name="csX3" fmla="*/ 0 w 5034224"/>
              <a:gd name="csY3" fmla="*/ 400110 h 400110"/>
              <a:gd name="csX4" fmla="*/ 0 w 5034224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034224" h="400110" extrusionOk="0">
                <a:moveTo>
                  <a:pt x="0" y="0"/>
                </a:moveTo>
                <a:cubicBezTo>
                  <a:pt x="587470" y="-5264"/>
                  <a:pt x="3958478" y="84467"/>
                  <a:pt x="5034224" y="0"/>
                </a:cubicBezTo>
                <a:cubicBezTo>
                  <a:pt x="4998650" y="133488"/>
                  <a:pt x="5004323" y="290440"/>
                  <a:pt x="5034224" y="400110"/>
                </a:cubicBezTo>
                <a:cubicBezTo>
                  <a:pt x="2657516" y="506430"/>
                  <a:pt x="1832943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FF00"/>
                </a:solidFill>
              </a:rPr>
              <a:t>Operating System Shutdown Proced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6022E6-62DB-5356-5CE7-46F2667AC07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94" y="1286104"/>
            <a:ext cx="8810115" cy="29922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DB09FF-6C37-34F3-6BE2-395E5206E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15930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02C9995-3ACE-34E0-74E3-5999B8A36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B22AC38-D603-26CD-9355-958221247AFD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1B4FC997-1049-BE5F-280E-56B6CA3BD4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9F709D7-6001-D700-CC55-5F745147688F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7030A0"/>
                </a:solidFill>
              </a:rPr>
              <a:t>Chaing of Custod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C80A32-399B-8418-F105-5C0C4D4FF690}"/>
              </a:ext>
            </a:extLst>
          </p:cNvPr>
          <p:cNvSpPr txBox="1"/>
          <p:nvPr/>
        </p:nvSpPr>
        <p:spPr>
          <a:xfrm>
            <a:off x="130628" y="864109"/>
            <a:ext cx="888768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FFFF00"/>
                </a:solidFill>
              </a:rPr>
              <a:t>The chain of custody document contains  complete information about the obtained evidence such a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FF00"/>
                </a:solidFill>
              </a:rPr>
              <a:t>Case numb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FF00"/>
                </a:solidFill>
              </a:rPr>
              <a:t>Name and title of the person who provided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FF00"/>
                </a:solidFill>
              </a:rPr>
              <a:t>Address and telephone numb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FF00"/>
                </a:solidFill>
              </a:rPr>
              <a:t>Location of eviden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FF00"/>
                </a:solidFill>
              </a:rPr>
              <a:t>Date/time of eviden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FF00"/>
                </a:solidFill>
              </a:rPr>
              <a:t>Item number/quantity/description of ite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E769E8-94EA-561C-1AA3-ADA489E94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3673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3213979-3563-6B15-9AAC-5033329825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91EBF8-219D-96FF-398B-2DBD930CE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 of Cyber Crim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88B3E3A-42E2-1AE5-5531-28A1F4D3393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72044585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FB9B9C-BC80-474F-EC99-72644EFE4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4945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DDE3DFC-78FC-A405-DB52-B596256DA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865C784-9774-B2DE-BB60-68D19C6AD103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DFE5F3-085C-22BF-1CE8-2A1D0AB127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11546" y="48238"/>
            <a:ext cx="517295" cy="5172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03251CBD-B4E8-ED23-4C98-4984C25E5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93588DA-0A71-4FCF-C909-62B03FE41C14}"/>
              </a:ext>
            </a:extLst>
          </p:cNvPr>
          <p:cNvSpPr txBox="1"/>
          <p:nvPr/>
        </p:nvSpPr>
        <p:spPr>
          <a:xfrm>
            <a:off x="261257" y="190919"/>
            <a:ext cx="4230356" cy="400110"/>
          </a:xfrm>
          <a:custGeom>
            <a:avLst/>
            <a:gdLst>
              <a:gd name="csX0" fmla="*/ 0 w 4230356"/>
              <a:gd name="csY0" fmla="*/ 0 h 400110"/>
              <a:gd name="csX1" fmla="*/ 4230356 w 4230356"/>
              <a:gd name="csY1" fmla="*/ 0 h 400110"/>
              <a:gd name="csX2" fmla="*/ 4230356 w 4230356"/>
              <a:gd name="csY2" fmla="*/ 400110 h 400110"/>
              <a:gd name="csX3" fmla="*/ 0 w 4230356"/>
              <a:gd name="csY3" fmla="*/ 400110 h 400110"/>
              <a:gd name="csX4" fmla="*/ 0 w 4230356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230356" h="400110" extrusionOk="0">
                <a:moveTo>
                  <a:pt x="0" y="0"/>
                </a:moveTo>
                <a:cubicBezTo>
                  <a:pt x="519070" y="-5264"/>
                  <a:pt x="2816754" y="84467"/>
                  <a:pt x="4230356" y="0"/>
                </a:cubicBezTo>
                <a:cubicBezTo>
                  <a:pt x="4194782" y="133488"/>
                  <a:pt x="4200455" y="290440"/>
                  <a:pt x="4230356" y="400110"/>
                </a:cubicBezTo>
                <a:cubicBezTo>
                  <a:pt x="3710585" y="506430"/>
                  <a:pt x="17085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50"/>
                </a:solidFill>
              </a:rPr>
              <a:t>Transport and Store Evid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B912AD-C432-48DE-17FE-A4731E8FC1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226" y="1225199"/>
            <a:ext cx="8734774" cy="44076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7A4B46-78D6-0CC8-FBCA-4CF15B69F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91250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7CC8426-D97A-73EB-6827-188AF5962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F33F005-52DB-5F4D-74B6-A2A924FBCB80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395E85E3-2409-3AB7-7FE7-0FDA1A294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3B6C0F8-D102-F095-E78B-4116F048DA6E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Data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BA2392-7935-D532-9C75-78217299692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9511"/>
            <a:ext cx="9144000" cy="28589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2A9820-5A20-B035-2D4D-79A3BA698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7720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7E45DEC-2680-CB08-CE2A-62C9C5DD0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D968324-4630-7308-35A0-C7C673CFCF3C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9B2FFC-95A9-7C2D-69E2-38465FFECDA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11546" y="48238"/>
            <a:ext cx="517295" cy="5172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E55FEC46-5ACE-636F-B983-8AFCF7B1F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0765F2F-E6FE-C473-271D-64A09A0BF57A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Case Analysi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2C8F7D2-DE29-B303-D8DC-85551E368A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258741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992681-F1AE-4F34-1DCE-27535C5F5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91484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BFCFF1F-25B9-D22C-585F-182CCC58C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C4BF7AE-E33B-7189-02E9-5317E74FED3D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8D0080A6-464F-723C-2722-0E535DCFE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C2A1E06-D4DF-BAA7-0488-14C571D9CB2C}"/>
              </a:ext>
            </a:extLst>
          </p:cNvPr>
          <p:cNvSpPr txBox="1"/>
          <p:nvPr/>
        </p:nvSpPr>
        <p:spPr>
          <a:xfrm>
            <a:off x="261257" y="190919"/>
            <a:ext cx="4310743" cy="400110"/>
          </a:xfrm>
          <a:custGeom>
            <a:avLst/>
            <a:gdLst>
              <a:gd name="csX0" fmla="*/ 0 w 4310743"/>
              <a:gd name="csY0" fmla="*/ 0 h 400110"/>
              <a:gd name="csX1" fmla="*/ 4310743 w 4310743"/>
              <a:gd name="csY1" fmla="*/ 0 h 400110"/>
              <a:gd name="csX2" fmla="*/ 4310743 w 4310743"/>
              <a:gd name="csY2" fmla="*/ 400110 h 400110"/>
              <a:gd name="csX3" fmla="*/ 0 w 4310743"/>
              <a:gd name="csY3" fmla="*/ 400110 h 400110"/>
              <a:gd name="csX4" fmla="*/ 0 w 4310743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310743" h="400110" extrusionOk="0">
                <a:moveTo>
                  <a:pt x="0" y="0"/>
                </a:moveTo>
                <a:cubicBezTo>
                  <a:pt x="1117932" y="-5264"/>
                  <a:pt x="3813488" y="84467"/>
                  <a:pt x="4310743" y="0"/>
                </a:cubicBezTo>
                <a:cubicBezTo>
                  <a:pt x="4275169" y="133488"/>
                  <a:pt x="4280842" y="290440"/>
                  <a:pt x="4310743" y="400110"/>
                </a:cubicBezTo>
                <a:cubicBezTo>
                  <a:pt x="2283719" y="506430"/>
                  <a:pt x="1833150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92D050"/>
                </a:solidFill>
              </a:rPr>
              <a:t>Forensic Investigation Re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3B505B-559A-0CB5-95DF-F4D842CD383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10" y="1234059"/>
            <a:ext cx="8077979" cy="438988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81151C-7610-A06F-FE85-E353B02A9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16451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09D23F3-670A-8269-DFC3-7B0E625DD6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8B8D589-9471-A11B-C337-F724AFF8379C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497AABF3-34DF-8654-FB5A-965A4B1450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0153C3-0D38-536A-4663-F58249DC1E4D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MOCK Cas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0AC915-3798-56EF-65CE-E59C0ECAD49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752" y="1761266"/>
            <a:ext cx="8606495" cy="30706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755C83-6C94-02B2-75EA-41BE65D40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5785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8B0CE0F-7D30-ED8A-4748-23B6B95D4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7E1E652-1C8D-2596-D59D-EB66E3AF579D}"/>
              </a:ext>
            </a:extLst>
          </p:cNvPr>
          <p:cNvSpPr txBox="1">
            <a:spLocks/>
          </p:cNvSpPr>
          <p:nvPr/>
        </p:nvSpPr>
        <p:spPr>
          <a:xfrm>
            <a:off x="592493" y="2230623"/>
            <a:ext cx="8077979" cy="3298930"/>
          </a:xfrm>
          <a:prstGeom prst="rect">
            <a:avLst/>
          </a:prstGeom>
        </p:spPr>
        <p:txBody>
          <a:bodyPr/>
          <a:lstStyle>
            <a:lvl1pPr marL="90488" indent="-90488" algn="l" rtl="0" fontAlgn="base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fontAlgn="base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AE" sz="1800" dirty="0">
              <a:latin typeface="Simplified Arabic" panose="02020603050405020304" pitchFamily="18" charset="-78"/>
              <a:cs typeface="Simplified Arabic" panose="02020603050405020304" pitchFamily="18" charset="-78"/>
            </a:endParaRPr>
          </a:p>
        </p:txBody>
      </p:sp>
      <p:pic>
        <p:nvPicPr>
          <p:cNvPr id="2050" name="Picture 2" descr="Computer Hacking Forensic Investigator ...">
            <a:extLst>
              <a:ext uri="{FF2B5EF4-FFF2-40B4-BE49-F238E27FC236}">
                <a16:creationId xmlns:a16="http://schemas.microsoft.com/office/drawing/2014/main" id="{C69D8849-5E23-287B-668C-51AD1216A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ABC5462-8922-CDF9-F31B-846747D2A80D}"/>
              </a:ext>
            </a:extLst>
          </p:cNvPr>
          <p:cNvSpPr txBox="1"/>
          <p:nvPr/>
        </p:nvSpPr>
        <p:spPr>
          <a:xfrm>
            <a:off x="261257" y="190919"/>
            <a:ext cx="2763297" cy="400110"/>
          </a:xfrm>
          <a:custGeom>
            <a:avLst/>
            <a:gdLst>
              <a:gd name="csX0" fmla="*/ 0 w 2763297"/>
              <a:gd name="csY0" fmla="*/ 0 h 400110"/>
              <a:gd name="csX1" fmla="*/ 2763297 w 2763297"/>
              <a:gd name="csY1" fmla="*/ 0 h 400110"/>
              <a:gd name="csX2" fmla="*/ 2763297 w 2763297"/>
              <a:gd name="csY2" fmla="*/ 400110 h 400110"/>
              <a:gd name="csX3" fmla="*/ 0 w 2763297"/>
              <a:gd name="csY3" fmla="*/ 400110 h 400110"/>
              <a:gd name="csX4" fmla="*/ 0 w 2763297"/>
              <a:gd name="csY4" fmla="*/ 0 h 4001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763297" h="400110" extrusionOk="0">
                <a:moveTo>
                  <a:pt x="0" y="0"/>
                </a:moveTo>
                <a:cubicBezTo>
                  <a:pt x="962947" y="-5264"/>
                  <a:pt x="1579967" y="84467"/>
                  <a:pt x="2763297" y="0"/>
                </a:cubicBezTo>
                <a:cubicBezTo>
                  <a:pt x="2727723" y="133488"/>
                  <a:pt x="2733396" y="290440"/>
                  <a:pt x="2763297" y="400110"/>
                </a:cubicBezTo>
                <a:cubicBezTo>
                  <a:pt x="1598426" y="506430"/>
                  <a:pt x="485206" y="392461"/>
                  <a:pt x="0" y="400110"/>
                </a:cubicBezTo>
                <a:cubicBezTo>
                  <a:pt x="31279" y="347423"/>
                  <a:pt x="29754" y="94898"/>
                  <a:pt x="0" y="0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F0"/>
                </a:solidFill>
              </a:rPr>
              <a:t>Forensic </a:t>
            </a:r>
            <a:r>
              <a:rPr lang="en-US" sz="2000" b="1" dirty="0" err="1">
                <a:solidFill>
                  <a:srgbClr val="00B0F0"/>
                </a:solidFill>
              </a:rPr>
              <a:t>Vizualization</a:t>
            </a:r>
            <a:endParaRPr lang="en-US" sz="2000" b="1" dirty="0">
              <a:solidFill>
                <a:srgbClr val="00B0F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66C8DF-D458-DDC3-FF72-2079DE0275F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55059"/>
            <a:ext cx="9144000" cy="434788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C19FB5-D016-DD95-BC7A-D73953FD8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71657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9"/>
          <p:cNvSpPr>
            <a:spLocks noEditPoints="1"/>
          </p:cNvSpPr>
          <p:nvPr/>
        </p:nvSpPr>
        <p:spPr bwMode="auto">
          <a:xfrm>
            <a:off x="7498624" y="5425557"/>
            <a:ext cx="193946" cy="193946"/>
          </a:xfrm>
          <a:custGeom>
            <a:avLst/>
            <a:gdLst/>
            <a:ahLst/>
            <a:cxnLst>
              <a:cxn ang="0">
                <a:pos x="319" y="210"/>
              </a:cxn>
              <a:cxn ang="0">
                <a:pos x="278" y="277"/>
              </a:cxn>
              <a:cxn ang="0">
                <a:pos x="225" y="313"/>
              </a:cxn>
              <a:cxn ang="0">
                <a:pos x="163" y="325"/>
              </a:cxn>
              <a:cxn ang="0">
                <a:pos x="87" y="306"/>
              </a:cxn>
              <a:cxn ang="0">
                <a:pos x="37" y="265"/>
              </a:cxn>
              <a:cxn ang="0">
                <a:pos x="3" y="194"/>
              </a:cxn>
              <a:cxn ang="0">
                <a:pos x="3" y="130"/>
              </a:cxn>
              <a:cxn ang="0">
                <a:pos x="37" y="60"/>
              </a:cxn>
              <a:cxn ang="0">
                <a:pos x="87" y="18"/>
              </a:cxn>
              <a:cxn ang="0">
                <a:pos x="163" y="0"/>
              </a:cxn>
              <a:cxn ang="0">
                <a:pos x="225" y="11"/>
              </a:cxn>
              <a:cxn ang="0">
                <a:pos x="278" y="48"/>
              </a:cxn>
              <a:cxn ang="0">
                <a:pos x="319" y="115"/>
              </a:cxn>
              <a:cxn ang="0">
                <a:pos x="314" y="162"/>
              </a:cxn>
              <a:cxn ang="0">
                <a:pos x="303" y="104"/>
              </a:cxn>
              <a:cxn ang="0">
                <a:pos x="271" y="56"/>
              </a:cxn>
              <a:cxn ang="0">
                <a:pos x="208" y="17"/>
              </a:cxn>
              <a:cxn ang="0">
                <a:pos x="148" y="11"/>
              </a:cxn>
              <a:cxn ang="0">
                <a:pos x="79" y="36"/>
              </a:cxn>
              <a:cxn ang="0">
                <a:pos x="37" y="79"/>
              </a:cxn>
              <a:cxn ang="0">
                <a:pos x="13" y="147"/>
              </a:cxn>
              <a:cxn ang="0">
                <a:pos x="19" y="207"/>
              </a:cxn>
              <a:cxn ang="0">
                <a:pos x="56" y="269"/>
              </a:cxn>
              <a:cxn ang="0">
                <a:pos x="106" y="303"/>
              </a:cxn>
              <a:cxn ang="0">
                <a:pos x="163" y="314"/>
              </a:cxn>
              <a:cxn ang="0">
                <a:pos x="234" y="296"/>
              </a:cxn>
              <a:cxn ang="0">
                <a:pos x="281" y="258"/>
              </a:cxn>
              <a:cxn ang="0">
                <a:pos x="312" y="192"/>
              </a:cxn>
              <a:cxn ang="0">
                <a:pos x="203" y="72"/>
              </a:cxn>
              <a:cxn ang="0">
                <a:pos x="204" y="108"/>
              </a:cxn>
              <a:cxn ang="0">
                <a:pos x="181" y="111"/>
              </a:cxn>
              <a:cxn ang="0">
                <a:pos x="173" y="117"/>
              </a:cxn>
              <a:cxn ang="0">
                <a:pos x="203" y="133"/>
              </a:cxn>
              <a:cxn ang="0">
                <a:pos x="204" y="167"/>
              </a:cxn>
              <a:cxn ang="0">
                <a:pos x="199" y="172"/>
              </a:cxn>
              <a:cxn ang="0">
                <a:pos x="172" y="252"/>
              </a:cxn>
              <a:cxn ang="0">
                <a:pos x="138" y="253"/>
              </a:cxn>
              <a:cxn ang="0">
                <a:pos x="133" y="248"/>
              </a:cxn>
              <a:cxn ang="0">
                <a:pos x="114" y="171"/>
              </a:cxn>
              <a:cxn ang="0">
                <a:pos x="113" y="137"/>
              </a:cxn>
              <a:cxn ang="0">
                <a:pos x="118" y="132"/>
              </a:cxn>
              <a:cxn ang="0">
                <a:pos x="135" y="96"/>
              </a:cxn>
              <a:cxn ang="0">
                <a:pos x="152" y="74"/>
              </a:cxn>
              <a:cxn ang="0">
                <a:pos x="201" y="71"/>
              </a:cxn>
              <a:cxn ang="0">
                <a:pos x="171" y="82"/>
              </a:cxn>
              <a:cxn ang="0">
                <a:pos x="149" y="89"/>
              </a:cxn>
              <a:cxn ang="0">
                <a:pos x="143" y="137"/>
              </a:cxn>
              <a:cxn ang="0">
                <a:pos x="140" y="142"/>
              </a:cxn>
              <a:cxn ang="0">
                <a:pos x="138" y="162"/>
              </a:cxn>
              <a:cxn ang="0">
                <a:pos x="143" y="243"/>
              </a:cxn>
              <a:cxn ang="0">
                <a:pos x="164" y="163"/>
              </a:cxn>
              <a:cxn ang="0">
                <a:pos x="169" y="143"/>
              </a:cxn>
              <a:cxn ang="0">
                <a:pos x="163" y="139"/>
              </a:cxn>
              <a:cxn ang="0">
                <a:pos x="166" y="105"/>
              </a:cxn>
              <a:cxn ang="0">
                <a:pos x="181" y="100"/>
              </a:cxn>
            </a:cxnLst>
            <a:rect l="0" t="0" r="r" b="b"/>
            <a:pathLst>
              <a:path w="326" h="325">
                <a:moveTo>
                  <a:pt x="326" y="162"/>
                </a:moveTo>
                <a:lnTo>
                  <a:pt x="326" y="162"/>
                </a:lnTo>
                <a:lnTo>
                  <a:pt x="325" y="178"/>
                </a:lnTo>
                <a:lnTo>
                  <a:pt x="323" y="194"/>
                </a:lnTo>
                <a:lnTo>
                  <a:pt x="319" y="210"/>
                </a:lnTo>
                <a:lnTo>
                  <a:pt x="314" y="225"/>
                </a:lnTo>
                <a:lnTo>
                  <a:pt x="307" y="239"/>
                </a:lnTo>
                <a:lnTo>
                  <a:pt x="299" y="252"/>
                </a:lnTo>
                <a:lnTo>
                  <a:pt x="289" y="265"/>
                </a:lnTo>
                <a:lnTo>
                  <a:pt x="278" y="277"/>
                </a:lnTo>
                <a:lnTo>
                  <a:pt x="278" y="277"/>
                </a:lnTo>
                <a:lnTo>
                  <a:pt x="266" y="289"/>
                </a:lnTo>
                <a:lnTo>
                  <a:pt x="253" y="298"/>
                </a:lnTo>
                <a:lnTo>
                  <a:pt x="239" y="306"/>
                </a:lnTo>
                <a:lnTo>
                  <a:pt x="225" y="313"/>
                </a:lnTo>
                <a:lnTo>
                  <a:pt x="211" y="318"/>
                </a:lnTo>
                <a:lnTo>
                  <a:pt x="196" y="322"/>
                </a:lnTo>
                <a:lnTo>
                  <a:pt x="180" y="324"/>
                </a:lnTo>
                <a:lnTo>
                  <a:pt x="163" y="325"/>
                </a:lnTo>
                <a:lnTo>
                  <a:pt x="163" y="325"/>
                </a:lnTo>
                <a:lnTo>
                  <a:pt x="147" y="324"/>
                </a:lnTo>
                <a:lnTo>
                  <a:pt x="131" y="322"/>
                </a:lnTo>
                <a:lnTo>
                  <a:pt x="116" y="318"/>
                </a:lnTo>
                <a:lnTo>
                  <a:pt x="101" y="313"/>
                </a:lnTo>
                <a:lnTo>
                  <a:pt x="87" y="306"/>
                </a:lnTo>
                <a:lnTo>
                  <a:pt x="73" y="298"/>
                </a:lnTo>
                <a:lnTo>
                  <a:pt x="61" y="289"/>
                </a:lnTo>
                <a:lnTo>
                  <a:pt x="48" y="277"/>
                </a:lnTo>
                <a:lnTo>
                  <a:pt x="48" y="277"/>
                </a:lnTo>
                <a:lnTo>
                  <a:pt x="37" y="265"/>
                </a:lnTo>
                <a:lnTo>
                  <a:pt x="28" y="252"/>
                </a:lnTo>
                <a:lnTo>
                  <a:pt x="20" y="239"/>
                </a:lnTo>
                <a:lnTo>
                  <a:pt x="13" y="225"/>
                </a:lnTo>
                <a:lnTo>
                  <a:pt x="7" y="210"/>
                </a:lnTo>
                <a:lnTo>
                  <a:pt x="3" y="194"/>
                </a:lnTo>
                <a:lnTo>
                  <a:pt x="1" y="178"/>
                </a:lnTo>
                <a:lnTo>
                  <a:pt x="0" y="162"/>
                </a:lnTo>
                <a:lnTo>
                  <a:pt x="0" y="162"/>
                </a:lnTo>
                <a:lnTo>
                  <a:pt x="1" y="146"/>
                </a:lnTo>
                <a:lnTo>
                  <a:pt x="3" y="130"/>
                </a:lnTo>
                <a:lnTo>
                  <a:pt x="7" y="115"/>
                </a:lnTo>
                <a:lnTo>
                  <a:pt x="13" y="100"/>
                </a:lnTo>
                <a:lnTo>
                  <a:pt x="20" y="86"/>
                </a:lnTo>
                <a:lnTo>
                  <a:pt x="28" y="73"/>
                </a:lnTo>
                <a:lnTo>
                  <a:pt x="37" y="60"/>
                </a:lnTo>
                <a:lnTo>
                  <a:pt x="48" y="48"/>
                </a:lnTo>
                <a:lnTo>
                  <a:pt x="48" y="48"/>
                </a:lnTo>
                <a:lnTo>
                  <a:pt x="61" y="37"/>
                </a:lnTo>
                <a:lnTo>
                  <a:pt x="73" y="27"/>
                </a:lnTo>
                <a:lnTo>
                  <a:pt x="87" y="18"/>
                </a:lnTo>
                <a:lnTo>
                  <a:pt x="101" y="11"/>
                </a:lnTo>
                <a:lnTo>
                  <a:pt x="116" y="6"/>
                </a:lnTo>
                <a:lnTo>
                  <a:pt x="131" y="3"/>
                </a:lnTo>
                <a:lnTo>
                  <a:pt x="147" y="0"/>
                </a:lnTo>
                <a:lnTo>
                  <a:pt x="163" y="0"/>
                </a:lnTo>
                <a:lnTo>
                  <a:pt x="163" y="0"/>
                </a:lnTo>
                <a:lnTo>
                  <a:pt x="180" y="0"/>
                </a:lnTo>
                <a:lnTo>
                  <a:pt x="196" y="3"/>
                </a:lnTo>
                <a:lnTo>
                  <a:pt x="211" y="6"/>
                </a:lnTo>
                <a:lnTo>
                  <a:pt x="225" y="11"/>
                </a:lnTo>
                <a:lnTo>
                  <a:pt x="239" y="18"/>
                </a:lnTo>
                <a:lnTo>
                  <a:pt x="253" y="27"/>
                </a:lnTo>
                <a:lnTo>
                  <a:pt x="266" y="37"/>
                </a:lnTo>
                <a:lnTo>
                  <a:pt x="278" y="48"/>
                </a:lnTo>
                <a:lnTo>
                  <a:pt x="278" y="48"/>
                </a:lnTo>
                <a:lnTo>
                  <a:pt x="289" y="60"/>
                </a:lnTo>
                <a:lnTo>
                  <a:pt x="299" y="73"/>
                </a:lnTo>
                <a:lnTo>
                  <a:pt x="307" y="86"/>
                </a:lnTo>
                <a:lnTo>
                  <a:pt x="314" y="100"/>
                </a:lnTo>
                <a:lnTo>
                  <a:pt x="319" y="115"/>
                </a:lnTo>
                <a:lnTo>
                  <a:pt x="323" y="130"/>
                </a:lnTo>
                <a:lnTo>
                  <a:pt x="325" y="146"/>
                </a:lnTo>
                <a:lnTo>
                  <a:pt x="326" y="162"/>
                </a:lnTo>
                <a:lnTo>
                  <a:pt x="326" y="162"/>
                </a:lnTo>
                <a:close/>
                <a:moveTo>
                  <a:pt x="314" y="162"/>
                </a:moveTo>
                <a:lnTo>
                  <a:pt x="314" y="162"/>
                </a:lnTo>
                <a:lnTo>
                  <a:pt x="314" y="147"/>
                </a:lnTo>
                <a:lnTo>
                  <a:pt x="312" y="132"/>
                </a:lnTo>
                <a:lnTo>
                  <a:pt x="308" y="118"/>
                </a:lnTo>
                <a:lnTo>
                  <a:pt x="303" y="104"/>
                </a:lnTo>
                <a:lnTo>
                  <a:pt x="297" y="91"/>
                </a:lnTo>
                <a:lnTo>
                  <a:pt x="290" y="79"/>
                </a:lnTo>
                <a:lnTo>
                  <a:pt x="281" y="67"/>
                </a:lnTo>
                <a:lnTo>
                  <a:pt x="271" y="56"/>
                </a:lnTo>
                <a:lnTo>
                  <a:pt x="271" y="56"/>
                </a:lnTo>
                <a:lnTo>
                  <a:pt x="258" y="45"/>
                </a:lnTo>
                <a:lnTo>
                  <a:pt x="246" y="36"/>
                </a:lnTo>
                <a:lnTo>
                  <a:pt x="234" y="29"/>
                </a:lnTo>
                <a:lnTo>
                  <a:pt x="221" y="22"/>
                </a:lnTo>
                <a:lnTo>
                  <a:pt x="208" y="17"/>
                </a:lnTo>
                <a:lnTo>
                  <a:pt x="194" y="14"/>
                </a:lnTo>
                <a:lnTo>
                  <a:pt x="179" y="11"/>
                </a:lnTo>
                <a:lnTo>
                  <a:pt x="163" y="11"/>
                </a:lnTo>
                <a:lnTo>
                  <a:pt x="163" y="11"/>
                </a:lnTo>
                <a:lnTo>
                  <a:pt x="148" y="11"/>
                </a:lnTo>
                <a:lnTo>
                  <a:pt x="133" y="14"/>
                </a:lnTo>
                <a:lnTo>
                  <a:pt x="119" y="17"/>
                </a:lnTo>
                <a:lnTo>
                  <a:pt x="106" y="22"/>
                </a:lnTo>
                <a:lnTo>
                  <a:pt x="92" y="29"/>
                </a:lnTo>
                <a:lnTo>
                  <a:pt x="79" y="36"/>
                </a:lnTo>
                <a:lnTo>
                  <a:pt x="67" y="45"/>
                </a:lnTo>
                <a:lnTo>
                  <a:pt x="56" y="56"/>
                </a:lnTo>
                <a:lnTo>
                  <a:pt x="56" y="56"/>
                </a:lnTo>
                <a:lnTo>
                  <a:pt x="46" y="67"/>
                </a:lnTo>
                <a:lnTo>
                  <a:pt x="37" y="79"/>
                </a:lnTo>
                <a:lnTo>
                  <a:pt x="30" y="91"/>
                </a:lnTo>
                <a:lnTo>
                  <a:pt x="23" y="104"/>
                </a:lnTo>
                <a:lnTo>
                  <a:pt x="19" y="118"/>
                </a:lnTo>
                <a:lnTo>
                  <a:pt x="15" y="132"/>
                </a:lnTo>
                <a:lnTo>
                  <a:pt x="13" y="147"/>
                </a:lnTo>
                <a:lnTo>
                  <a:pt x="13" y="162"/>
                </a:lnTo>
                <a:lnTo>
                  <a:pt x="13" y="162"/>
                </a:lnTo>
                <a:lnTo>
                  <a:pt x="13" y="177"/>
                </a:lnTo>
                <a:lnTo>
                  <a:pt x="15" y="192"/>
                </a:lnTo>
                <a:lnTo>
                  <a:pt x="19" y="207"/>
                </a:lnTo>
                <a:lnTo>
                  <a:pt x="23" y="221"/>
                </a:lnTo>
                <a:lnTo>
                  <a:pt x="30" y="233"/>
                </a:lnTo>
                <a:lnTo>
                  <a:pt x="37" y="246"/>
                </a:lnTo>
                <a:lnTo>
                  <a:pt x="46" y="258"/>
                </a:lnTo>
                <a:lnTo>
                  <a:pt x="56" y="269"/>
                </a:lnTo>
                <a:lnTo>
                  <a:pt x="56" y="269"/>
                </a:lnTo>
                <a:lnTo>
                  <a:pt x="67" y="279"/>
                </a:lnTo>
                <a:lnTo>
                  <a:pt x="79" y="289"/>
                </a:lnTo>
                <a:lnTo>
                  <a:pt x="92" y="296"/>
                </a:lnTo>
                <a:lnTo>
                  <a:pt x="106" y="303"/>
                </a:lnTo>
                <a:lnTo>
                  <a:pt x="119" y="307"/>
                </a:lnTo>
                <a:lnTo>
                  <a:pt x="133" y="311"/>
                </a:lnTo>
                <a:lnTo>
                  <a:pt x="148" y="313"/>
                </a:lnTo>
                <a:lnTo>
                  <a:pt x="163" y="314"/>
                </a:lnTo>
                <a:lnTo>
                  <a:pt x="163" y="314"/>
                </a:lnTo>
                <a:lnTo>
                  <a:pt x="179" y="313"/>
                </a:lnTo>
                <a:lnTo>
                  <a:pt x="194" y="311"/>
                </a:lnTo>
                <a:lnTo>
                  <a:pt x="208" y="307"/>
                </a:lnTo>
                <a:lnTo>
                  <a:pt x="221" y="303"/>
                </a:lnTo>
                <a:lnTo>
                  <a:pt x="234" y="296"/>
                </a:lnTo>
                <a:lnTo>
                  <a:pt x="246" y="289"/>
                </a:lnTo>
                <a:lnTo>
                  <a:pt x="258" y="279"/>
                </a:lnTo>
                <a:lnTo>
                  <a:pt x="271" y="269"/>
                </a:lnTo>
                <a:lnTo>
                  <a:pt x="271" y="269"/>
                </a:lnTo>
                <a:lnTo>
                  <a:pt x="281" y="258"/>
                </a:lnTo>
                <a:lnTo>
                  <a:pt x="290" y="246"/>
                </a:lnTo>
                <a:lnTo>
                  <a:pt x="297" y="233"/>
                </a:lnTo>
                <a:lnTo>
                  <a:pt x="303" y="221"/>
                </a:lnTo>
                <a:lnTo>
                  <a:pt x="308" y="207"/>
                </a:lnTo>
                <a:lnTo>
                  <a:pt x="312" y="192"/>
                </a:lnTo>
                <a:lnTo>
                  <a:pt x="314" y="177"/>
                </a:lnTo>
                <a:lnTo>
                  <a:pt x="314" y="162"/>
                </a:lnTo>
                <a:lnTo>
                  <a:pt x="314" y="162"/>
                </a:lnTo>
                <a:close/>
                <a:moveTo>
                  <a:pt x="203" y="72"/>
                </a:moveTo>
                <a:lnTo>
                  <a:pt x="203" y="72"/>
                </a:lnTo>
                <a:lnTo>
                  <a:pt x="204" y="74"/>
                </a:lnTo>
                <a:lnTo>
                  <a:pt x="204" y="76"/>
                </a:lnTo>
                <a:lnTo>
                  <a:pt x="204" y="106"/>
                </a:lnTo>
                <a:lnTo>
                  <a:pt x="204" y="106"/>
                </a:lnTo>
                <a:lnTo>
                  <a:pt x="204" y="108"/>
                </a:lnTo>
                <a:lnTo>
                  <a:pt x="203" y="110"/>
                </a:lnTo>
                <a:lnTo>
                  <a:pt x="203" y="110"/>
                </a:lnTo>
                <a:lnTo>
                  <a:pt x="199" y="111"/>
                </a:lnTo>
                <a:lnTo>
                  <a:pt x="181" y="111"/>
                </a:lnTo>
                <a:lnTo>
                  <a:pt x="181" y="111"/>
                </a:lnTo>
                <a:lnTo>
                  <a:pt x="176" y="111"/>
                </a:lnTo>
                <a:lnTo>
                  <a:pt x="174" y="111"/>
                </a:lnTo>
                <a:lnTo>
                  <a:pt x="174" y="111"/>
                </a:lnTo>
                <a:lnTo>
                  <a:pt x="174" y="114"/>
                </a:lnTo>
                <a:lnTo>
                  <a:pt x="173" y="117"/>
                </a:lnTo>
                <a:lnTo>
                  <a:pt x="173" y="132"/>
                </a:lnTo>
                <a:lnTo>
                  <a:pt x="199" y="132"/>
                </a:lnTo>
                <a:lnTo>
                  <a:pt x="199" y="132"/>
                </a:lnTo>
                <a:lnTo>
                  <a:pt x="201" y="132"/>
                </a:lnTo>
                <a:lnTo>
                  <a:pt x="203" y="133"/>
                </a:lnTo>
                <a:lnTo>
                  <a:pt x="203" y="133"/>
                </a:lnTo>
                <a:lnTo>
                  <a:pt x="204" y="135"/>
                </a:lnTo>
                <a:lnTo>
                  <a:pt x="204" y="137"/>
                </a:lnTo>
                <a:lnTo>
                  <a:pt x="204" y="167"/>
                </a:lnTo>
                <a:lnTo>
                  <a:pt x="204" y="167"/>
                </a:lnTo>
                <a:lnTo>
                  <a:pt x="204" y="169"/>
                </a:lnTo>
                <a:lnTo>
                  <a:pt x="203" y="171"/>
                </a:lnTo>
                <a:lnTo>
                  <a:pt x="203" y="171"/>
                </a:lnTo>
                <a:lnTo>
                  <a:pt x="201" y="172"/>
                </a:lnTo>
                <a:lnTo>
                  <a:pt x="199" y="172"/>
                </a:lnTo>
                <a:lnTo>
                  <a:pt x="173" y="172"/>
                </a:lnTo>
                <a:lnTo>
                  <a:pt x="173" y="248"/>
                </a:lnTo>
                <a:lnTo>
                  <a:pt x="173" y="248"/>
                </a:lnTo>
                <a:lnTo>
                  <a:pt x="173" y="250"/>
                </a:lnTo>
                <a:lnTo>
                  <a:pt x="172" y="252"/>
                </a:lnTo>
                <a:lnTo>
                  <a:pt x="172" y="252"/>
                </a:lnTo>
                <a:lnTo>
                  <a:pt x="171" y="253"/>
                </a:lnTo>
                <a:lnTo>
                  <a:pt x="169" y="253"/>
                </a:lnTo>
                <a:lnTo>
                  <a:pt x="138" y="253"/>
                </a:lnTo>
                <a:lnTo>
                  <a:pt x="138" y="253"/>
                </a:lnTo>
                <a:lnTo>
                  <a:pt x="136" y="253"/>
                </a:lnTo>
                <a:lnTo>
                  <a:pt x="134" y="252"/>
                </a:lnTo>
                <a:lnTo>
                  <a:pt x="134" y="252"/>
                </a:lnTo>
                <a:lnTo>
                  <a:pt x="133" y="250"/>
                </a:lnTo>
                <a:lnTo>
                  <a:pt x="133" y="248"/>
                </a:lnTo>
                <a:lnTo>
                  <a:pt x="133" y="172"/>
                </a:lnTo>
                <a:lnTo>
                  <a:pt x="118" y="172"/>
                </a:lnTo>
                <a:lnTo>
                  <a:pt x="118" y="172"/>
                </a:lnTo>
                <a:lnTo>
                  <a:pt x="116" y="172"/>
                </a:lnTo>
                <a:lnTo>
                  <a:pt x="114" y="171"/>
                </a:lnTo>
                <a:lnTo>
                  <a:pt x="114" y="171"/>
                </a:lnTo>
                <a:lnTo>
                  <a:pt x="113" y="169"/>
                </a:lnTo>
                <a:lnTo>
                  <a:pt x="113" y="167"/>
                </a:lnTo>
                <a:lnTo>
                  <a:pt x="113" y="137"/>
                </a:lnTo>
                <a:lnTo>
                  <a:pt x="113" y="137"/>
                </a:lnTo>
                <a:lnTo>
                  <a:pt x="113" y="135"/>
                </a:lnTo>
                <a:lnTo>
                  <a:pt x="114" y="133"/>
                </a:lnTo>
                <a:lnTo>
                  <a:pt x="114" y="133"/>
                </a:lnTo>
                <a:lnTo>
                  <a:pt x="116" y="132"/>
                </a:lnTo>
                <a:lnTo>
                  <a:pt x="118" y="132"/>
                </a:lnTo>
                <a:lnTo>
                  <a:pt x="133" y="132"/>
                </a:lnTo>
                <a:lnTo>
                  <a:pt x="133" y="116"/>
                </a:lnTo>
                <a:lnTo>
                  <a:pt x="133" y="116"/>
                </a:lnTo>
                <a:lnTo>
                  <a:pt x="133" y="105"/>
                </a:lnTo>
                <a:lnTo>
                  <a:pt x="135" y="96"/>
                </a:lnTo>
                <a:lnTo>
                  <a:pt x="137" y="89"/>
                </a:lnTo>
                <a:lnTo>
                  <a:pt x="140" y="82"/>
                </a:lnTo>
                <a:lnTo>
                  <a:pt x="140" y="82"/>
                </a:lnTo>
                <a:lnTo>
                  <a:pt x="145" y="78"/>
                </a:lnTo>
                <a:lnTo>
                  <a:pt x="152" y="74"/>
                </a:lnTo>
                <a:lnTo>
                  <a:pt x="160" y="72"/>
                </a:lnTo>
                <a:lnTo>
                  <a:pt x="171" y="71"/>
                </a:lnTo>
                <a:lnTo>
                  <a:pt x="199" y="71"/>
                </a:lnTo>
                <a:lnTo>
                  <a:pt x="199" y="71"/>
                </a:lnTo>
                <a:lnTo>
                  <a:pt x="201" y="71"/>
                </a:lnTo>
                <a:lnTo>
                  <a:pt x="203" y="72"/>
                </a:lnTo>
                <a:lnTo>
                  <a:pt x="203" y="72"/>
                </a:lnTo>
                <a:close/>
                <a:moveTo>
                  <a:pt x="193" y="82"/>
                </a:moveTo>
                <a:lnTo>
                  <a:pt x="171" y="82"/>
                </a:lnTo>
                <a:lnTo>
                  <a:pt x="171" y="82"/>
                </a:lnTo>
                <a:lnTo>
                  <a:pt x="163" y="82"/>
                </a:lnTo>
                <a:lnTo>
                  <a:pt x="157" y="84"/>
                </a:lnTo>
                <a:lnTo>
                  <a:pt x="152" y="86"/>
                </a:lnTo>
                <a:lnTo>
                  <a:pt x="149" y="89"/>
                </a:lnTo>
                <a:lnTo>
                  <a:pt x="149" y="89"/>
                </a:lnTo>
                <a:lnTo>
                  <a:pt x="146" y="94"/>
                </a:lnTo>
                <a:lnTo>
                  <a:pt x="144" y="99"/>
                </a:lnTo>
                <a:lnTo>
                  <a:pt x="143" y="107"/>
                </a:lnTo>
                <a:lnTo>
                  <a:pt x="143" y="116"/>
                </a:lnTo>
                <a:lnTo>
                  <a:pt x="143" y="137"/>
                </a:lnTo>
                <a:lnTo>
                  <a:pt x="143" y="137"/>
                </a:lnTo>
                <a:lnTo>
                  <a:pt x="143" y="139"/>
                </a:lnTo>
                <a:lnTo>
                  <a:pt x="142" y="141"/>
                </a:lnTo>
                <a:lnTo>
                  <a:pt x="142" y="141"/>
                </a:lnTo>
                <a:lnTo>
                  <a:pt x="140" y="142"/>
                </a:lnTo>
                <a:lnTo>
                  <a:pt x="138" y="143"/>
                </a:lnTo>
                <a:lnTo>
                  <a:pt x="123" y="143"/>
                </a:lnTo>
                <a:lnTo>
                  <a:pt x="123" y="162"/>
                </a:lnTo>
                <a:lnTo>
                  <a:pt x="138" y="162"/>
                </a:lnTo>
                <a:lnTo>
                  <a:pt x="138" y="162"/>
                </a:lnTo>
                <a:lnTo>
                  <a:pt x="140" y="162"/>
                </a:lnTo>
                <a:lnTo>
                  <a:pt x="142" y="163"/>
                </a:lnTo>
                <a:lnTo>
                  <a:pt x="143" y="165"/>
                </a:lnTo>
                <a:lnTo>
                  <a:pt x="143" y="167"/>
                </a:lnTo>
                <a:lnTo>
                  <a:pt x="143" y="243"/>
                </a:lnTo>
                <a:lnTo>
                  <a:pt x="163" y="243"/>
                </a:lnTo>
                <a:lnTo>
                  <a:pt x="163" y="167"/>
                </a:lnTo>
                <a:lnTo>
                  <a:pt x="163" y="167"/>
                </a:lnTo>
                <a:lnTo>
                  <a:pt x="163" y="165"/>
                </a:lnTo>
                <a:lnTo>
                  <a:pt x="164" y="163"/>
                </a:lnTo>
                <a:lnTo>
                  <a:pt x="166" y="162"/>
                </a:lnTo>
                <a:lnTo>
                  <a:pt x="169" y="162"/>
                </a:lnTo>
                <a:lnTo>
                  <a:pt x="194" y="162"/>
                </a:lnTo>
                <a:lnTo>
                  <a:pt x="194" y="143"/>
                </a:lnTo>
                <a:lnTo>
                  <a:pt x="169" y="143"/>
                </a:lnTo>
                <a:lnTo>
                  <a:pt x="169" y="143"/>
                </a:lnTo>
                <a:lnTo>
                  <a:pt x="166" y="142"/>
                </a:lnTo>
                <a:lnTo>
                  <a:pt x="164" y="141"/>
                </a:lnTo>
                <a:lnTo>
                  <a:pt x="164" y="141"/>
                </a:lnTo>
                <a:lnTo>
                  <a:pt x="163" y="139"/>
                </a:lnTo>
                <a:lnTo>
                  <a:pt x="163" y="137"/>
                </a:lnTo>
                <a:lnTo>
                  <a:pt x="163" y="118"/>
                </a:lnTo>
                <a:lnTo>
                  <a:pt x="163" y="118"/>
                </a:lnTo>
                <a:lnTo>
                  <a:pt x="164" y="110"/>
                </a:lnTo>
                <a:lnTo>
                  <a:pt x="166" y="105"/>
                </a:lnTo>
                <a:lnTo>
                  <a:pt x="166" y="105"/>
                </a:lnTo>
                <a:lnTo>
                  <a:pt x="168" y="103"/>
                </a:lnTo>
                <a:lnTo>
                  <a:pt x="171" y="101"/>
                </a:lnTo>
                <a:lnTo>
                  <a:pt x="175" y="100"/>
                </a:lnTo>
                <a:lnTo>
                  <a:pt x="181" y="100"/>
                </a:lnTo>
                <a:lnTo>
                  <a:pt x="193" y="101"/>
                </a:lnTo>
                <a:lnTo>
                  <a:pt x="193" y="8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 sz="1584" dirty="0">
              <a:latin typeface="Calibri" charset="0"/>
              <a:ea typeface="Calibri" charset="0"/>
              <a:cs typeface="Calibri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5998240" y="5413862"/>
            <a:ext cx="205207" cy="205641"/>
            <a:chOff x="2460635" y="2937275"/>
            <a:chExt cx="558995" cy="560176"/>
          </a:xfrm>
          <a:solidFill>
            <a:schemeClr val="accent1"/>
          </a:solidFill>
        </p:grpSpPr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2460635" y="2937275"/>
              <a:ext cx="558995" cy="560176"/>
            </a:xfrm>
            <a:custGeom>
              <a:avLst/>
              <a:gdLst/>
              <a:ahLst/>
              <a:cxnLst>
                <a:cxn ang="0">
                  <a:pos x="1882" y="1091"/>
                </a:cxn>
                <a:cxn ang="0">
                  <a:pos x="1823" y="1311"/>
                </a:cxn>
                <a:cxn ang="0">
                  <a:pos x="1709" y="1509"/>
                </a:cxn>
                <a:cxn ang="0">
                  <a:pos x="1579" y="1651"/>
                </a:cxn>
                <a:cxn ang="0">
                  <a:pos x="1390" y="1787"/>
                </a:cxn>
                <a:cxn ang="0">
                  <a:pos x="1179" y="1869"/>
                </a:cxn>
                <a:cxn ang="0">
                  <a:pos x="946" y="1896"/>
                </a:cxn>
                <a:cxn ang="0">
                  <a:pos x="758" y="1878"/>
                </a:cxn>
                <a:cxn ang="0">
                  <a:pos x="543" y="1808"/>
                </a:cxn>
                <a:cxn ang="0">
                  <a:pos x="349" y="1683"/>
                </a:cxn>
                <a:cxn ang="0">
                  <a:pos x="212" y="1546"/>
                </a:cxn>
                <a:cxn ang="0">
                  <a:pos x="88" y="1352"/>
                </a:cxn>
                <a:cxn ang="0">
                  <a:pos x="18" y="1137"/>
                </a:cxn>
                <a:cxn ang="0">
                  <a:pos x="0" y="948"/>
                </a:cxn>
                <a:cxn ang="0">
                  <a:pos x="27" y="714"/>
                </a:cxn>
                <a:cxn ang="0">
                  <a:pos x="108" y="504"/>
                </a:cxn>
                <a:cxn ang="0">
                  <a:pos x="244" y="314"/>
                </a:cxn>
                <a:cxn ang="0">
                  <a:pos x="387" y="183"/>
                </a:cxn>
                <a:cxn ang="0">
                  <a:pos x="584" y="69"/>
                </a:cxn>
                <a:cxn ang="0">
                  <a:pos x="804" y="10"/>
                </a:cxn>
                <a:cxn ang="0">
                  <a:pos x="994" y="1"/>
                </a:cxn>
                <a:cxn ang="0">
                  <a:pos x="1223" y="40"/>
                </a:cxn>
                <a:cxn ang="0">
                  <a:pos x="1430" y="132"/>
                </a:cxn>
                <a:cxn ang="0">
                  <a:pos x="1614" y="279"/>
                </a:cxn>
                <a:cxn ang="0">
                  <a:pos x="1736" y="425"/>
                </a:cxn>
                <a:cxn ang="0">
                  <a:pos x="1840" y="628"/>
                </a:cxn>
                <a:cxn ang="0">
                  <a:pos x="1888" y="851"/>
                </a:cxn>
                <a:cxn ang="0">
                  <a:pos x="1827" y="948"/>
                </a:cxn>
                <a:cxn ang="0">
                  <a:pos x="1801" y="730"/>
                </a:cxn>
                <a:cxn ang="0">
                  <a:pos x="1726" y="533"/>
                </a:cxn>
                <a:cxn ang="0">
                  <a:pos x="1600" y="358"/>
                </a:cxn>
                <a:cxn ang="0">
                  <a:pos x="1469" y="237"/>
                </a:cxn>
                <a:cxn ang="0">
                  <a:pos x="1285" y="131"/>
                </a:cxn>
                <a:cxn ang="0">
                  <a:pos x="1079" y="76"/>
                </a:cxn>
                <a:cxn ang="0">
                  <a:pos x="901" y="67"/>
                </a:cxn>
                <a:cxn ang="0">
                  <a:pos x="688" y="102"/>
                </a:cxn>
                <a:cxn ang="0">
                  <a:pos x="496" y="189"/>
                </a:cxn>
                <a:cxn ang="0">
                  <a:pos x="324" y="325"/>
                </a:cxn>
                <a:cxn ang="0">
                  <a:pos x="211" y="460"/>
                </a:cxn>
                <a:cxn ang="0">
                  <a:pos x="116" y="648"/>
                </a:cxn>
                <a:cxn ang="0">
                  <a:pos x="70" y="858"/>
                </a:cxn>
                <a:cxn ang="0">
                  <a:pos x="70" y="1038"/>
                </a:cxn>
                <a:cxn ang="0">
                  <a:pos x="116" y="1246"/>
                </a:cxn>
                <a:cxn ang="0">
                  <a:pos x="211" y="1435"/>
                </a:cxn>
                <a:cxn ang="0">
                  <a:pos x="324" y="1571"/>
                </a:cxn>
                <a:cxn ang="0">
                  <a:pos x="496" y="1707"/>
                </a:cxn>
                <a:cxn ang="0">
                  <a:pos x="688" y="1793"/>
                </a:cxn>
                <a:cxn ang="0">
                  <a:pos x="901" y="1828"/>
                </a:cxn>
                <a:cxn ang="0">
                  <a:pos x="1079" y="1820"/>
                </a:cxn>
                <a:cxn ang="0">
                  <a:pos x="1285" y="1765"/>
                </a:cxn>
                <a:cxn ang="0">
                  <a:pos x="1469" y="1659"/>
                </a:cxn>
                <a:cxn ang="0">
                  <a:pos x="1600" y="1538"/>
                </a:cxn>
                <a:cxn ang="0">
                  <a:pos x="1726" y="1363"/>
                </a:cxn>
                <a:cxn ang="0">
                  <a:pos x="1801" y="1165"/>
                </a:cxn>
                <a:cxn ang="0">
                  <a:pos x="1827" y="948"/>
                </a:cxn>
              </a:cxnLst>
              <a:rect l="0" t="0" r="r" b="b"/>
              <a:pathLst>
                <a:path w="1892" h="1896">
                  <a:moveTo>
                    <a:pt x="1892" y="948"/>
                  </a:moveTo>
                  <a:lnTo>
                    <a:pt x="1892" y="948"/>
                  </a:lnTo>
                  <a:lnTo>
                    <a:pt x="1891" y="996"/>
                  </a:lnTo>
                  <a:lnTo>
                    <a:pt x="1888" y="1043"/>
                  </a:lnTo>
                  <a:lnTo>
                    <a:pt x="1882" y="1091"/>
                  </a:lnTo>
                  <a:lnTo>
                    <a:pt x="1875" y="1137"/>
                  </a:lnTo>
                  <a:lnTo>
                    <a:pt x="1865" y="1182"/>
                  </a:lnTo>
                  <a:lnTo>
                    <a:pt x="1853" y="1226"/>
                  </a:lnTo>
                  <a:lnTo>
                    <a:pt x="1840" y="1268"/>
                  </a:lnTo>
                  <a:lnTo>
                    <a:pt x="1823" y="1311"/>
                  </a:lnTo>
                  <a:lnTo>
                    <a:pt x="1805" y="1352"/>
                  </a:lnTo>
                  <a:lnTo>
                    <a:pt x="1784" y="1392"/>
                  </a:lnTo>
                  <a:lnTo>
                    <a:pt x="1761" y="1432"/>
                  </a:lnTo>
                  <a:lnTo>
                    <a:pt x="1736" y="1471"/>
                  </a:lnTo>
                  <a:lnTo>
                    <a:pt x="1709" y="1509"/>
                  </a:lnTo>
                  <a:lnTo>
                    <a:pt x="1680" y="1546"/>
                  </a:lnTo>
                  <a:lnTo>
                    <a:pt x="1648" y="1582"/>
                  </a:lnTo>
                  <a:lnTo>
                    <a:pt x="1614" y="1617"/>
                  </a:lnTo>
                  <a:lnTo>
                    <a:pt x="1614" y="1617"/>
                  </a:lnTo>
                  <a:lnTo>
                    <a:pt x="1579" y="1651"/>
                  </a:lnTo>
                  <a:lnTo>
                    <a:pt x="1543" y="1683"/>
                  </a:lnTo>
                  <a:lnTo>
                    <a:pt x="1506" y="1712"/>
                  </a:lnTo>
                  <a:lnTo>
                    <a:pt x="1469" y="1739"/>
                  </a:lnTo>
                  <a:lnTo>
                    <a:pt x="1430" y="1764"/>
                  </a:lnTo>
                  <a:lnTo>
                    <a:pt x="1390" y="1787"/>
                  </a:lnTo>
                  <a:lnTo>
                    <a:pt x="1350" y="1808"/>
                  </a:lnTo>
                  <a:lnTo>
                    <a:pt x="1309" y="1826"/>
                  </a:lnTo>
                  <a:lnTo>
                    <a:pt x="1266" y="1842"/>
                  </a:lnTo>
                  <a:lnTo>
                    <a:pt x="1223" y="1857"/>
                  </a:lnTo>
                  <a:lnTo>
                    <a:pt x="1179" y="1869"/>
                  </a:lnTo>
                  <a:lnTo>
                    <a:pt x="1135" y="1878"/>
                  </a:lnTo>
                  <a:lnTo>
                    <a:pt x="1089" y="1886"/>
                  </a:lnTo>
                  <a:lnTo>
                    <a:pt x="1043" y="1892"/>
                  </a:lnTo>
                  <a:lnTo>
                    <a:pt x="994" y="1895"/>
                  </a:lnTo>
                  <a:lnTo>
                    <a:pt x="946" y="1896"/>
                  </a:lnTo>
                  <a:lnTo>
                    <a:pt x="946" y="1896"/>
                  </a:lnTo>
                  <a:lnTo>
                    <a:pt x="898" y="1895"/>
                  </a:lnTo>
                  <a:lnTo>
                    <a:pt x="851" y="1892"/>
                  </a:lnTo>
                  <a:lnTo>
                    <a:pt x="804" y="1886"/>
                  </a:lnTo>
                  <a:lnTo>
                    <a:pt x="758" y="1878"/>
                  </a:lnTo>
                  <a:lnTo>
                    <a:pt x="713" y="1869"/>
                  </a:lnTo>
                  <a:lnTo>
                    <a:pt x="669" y="1857"/>
                  </a:lnTo>
                  <a:lnTo>
                    <a:pt x="626" y="1842"/>
                  </a:lnTo>
                  <a:lnTo>
                    <a:pt x="584" y="1826"/>
                  </a:lnTo>
                  <a:lnTo>
                    <a:pt x="543" y="1808"/>
                  </a:lnTo>
                  <a:lnTo>
                    <a:pt x="503" y="1787"/>
                  </a:lnTo>
                  <a:lnTo>
                    <a:pt x="463" y="1764"/>
                  </a:lnTo>
                  <a:lnTo>
                    <a:pt x="424" y="1739"/>
                  </a:lnTo>
                  <a:lnTo>
                    <a:pt x="387" y="1712"/>
                  </a:lnTo>
                  <a:lnTo>
                    <a:pt x="349" y="1683"/>
                  </a:lnTo>
                  <a:lnTo>
                    <a:pt x="313" y="1651"/>
                  </a:lnTo>
                  <a:lnTo>
                    <a:pt x="278" y="1617"/>
                  </a:lnTo>
                  <a:lnTo>
                    <a:pt x="278" y="1617"/>
                  </a:lnTo>
                  <a:lnTo>
                    <a:pt x="244" y="1582"/>
                  </a:lnTo>
                  <a:lnTo>
                    <a:pt x="212" y="1546"/>
                  </a:lnTo>
                  <a:lnTo>
                    <a:pt x="184" y="1509"/>
                  </a:lnTo>
                  <a:lnTo>
                    <a:pt x="157" y="1471"/>
                  </a:lnTo>
                  <a:lnTo>
                    <a:pt x="131" y="1432"/>
                  </a:lnTo>
                  <a:lnTo>
                    <a:pt x="108" y="1392"/>
                  </a:lnTo>
                  <a:lnTo>
                    <a:pt x="88" y="1352"/>
                  </a:lnTo>
                  <a:lnTo>
                    <a:pt x="70" y="1311"/>
                  </a:lnTo>
                  <a:lnTo>
                    <a:pt x="54" y="1268"/>
                  </a:lnTo>
                  <a:lnTo>
                    <a:pt x="39" y="1226"/>
                  </a:lnTo>
                  <a:lnTo>
                    <a:pt x="27" y="1182"/>
                  </a:lnTo>
                  <a:lnTo>
                    <a:pt x="18" y="1137"/>
                  </a:lnTo>
                  <a:lnTo>
                    <a:pt x="10" y="1091"/>
                  </a:lnTo>
                  <a:lnTo>
                    <a:pt x="4" y="1043"/>
                  </a:lnTo>
                  <a:lnTo>
                    <a:pt x="1" y="996"/>
                  </a:lnTo>
                  <a:lnTo>
                    <a:pt x="0" y="948"/>
                  </a:lnTo>
                  <a:lnTo>
                    <a:pt x="0" y="948"/>
                  </a:lnTo>
                  <a:lnTo>
                    <a:pt x="1" y="900"/>
                  </a:lnTo>
                  <a:lnTo>
                    <a:pt x="4" y="851"/>
                  </a:lnTo>
                  <a:lnTo>
                    <a:pt x="10" y="805"/>
                  </a:lnTo>
                  <a:lnTo>
                    <a:pt x="18" y="759"/>
                  </a:lnTo>
                  <a:lnTo>
                    <a:pt x="27" y="714"/>
                  </a:lnTo>
                  <a:lnTo>
                    <a:pt x="39" y="670"/>
                  </a:lnTo>
                  <a:lnTo>
                    <a:pt x="54" y="628"/>
                  </a:lnTo>
                  <a:lnTo>
                    <a:pt x="70" y="585"/>
                  </a:lnTo>
                  <a:lnTo>
                    <a:pt x="88" y="543"/>
                  </a:lnTo>
                  <a:lnTo>
                    <a:pt x="108" y="504"/>
                  </a:lnTo>
                  <a:lnTo>
                    <a:pt x="131" y="463"/>
                  </a:lnTo>
                  <a:lnTo>
                    <a:pt x="157" y="425"/>
                  </a:lnTo>
                  <a:lnTo>
                    <a:pt x="184" y="387"/>
                  </a:lnTo>
                  <a:lnTo>
                    <a:pt x="212" y="350"/>
                  </a:lnTo>
                  <a:lnTo>
                    <a:pt x="244" y="314"/>
                  </a:lnTo>
                  <a:lnTo>
                    <a:pt x="278" y="279"/>
                  </a:lnTo>
                  <a:lnTo>
                    <a:pt x="278" y="279"/>
                  </a:lnTo>
                  <a:lnTo>
                    <a:pt x="313" y="245"/>
                  </a:lnTo>
                  <a:lnTo>
                    <a:pt x="349" y="213"/>
                  </a:lnTo>
                  <a:lnTo>
                    <a:pt x="387" y="183"/>
                  </a:lnTo>
                  <a:lnTo>
                    <a:pt x="424" y="157"/>
                  </a:lnTo>
                  <a:lnTo>
                    <a:pt x="463" y="132"/>
                  </a:lnTo>
                  <a:lnTo>
                    <a:pt x="503" y="109"/>
                  </a:lnTo>
                  <a:lnTo>
                    <a:pt x="543" y="88"/>
                  </a:lnTo>
                  <a:lnTo>
                    <a:pt x="584" y="69"/>
                  </a:lnTo>
                  <a:lnTo>
                    <a:pt x="626" y="53"/>
                  </a:lnTo>
                  <a:lnTo>
                    <a:pt x="669" y="40"/>
                  </a:lnTo>
                  <a:lnTo>
                    <a:pt x="713" y="27"/>
                  </a:lnTo>
                  <a:lnTo>
                    <a:pt x="758" y="18"/>
                  </a:lnTo>
                  <a:lnTo>
                    <a:pt x="804" y="10"/>
                  </a:lnTo>
                  <a:lnTo>
                    <a:pt x="851" y="4"/>
                  </a:lnTo>
                  <a:lnTo>
                    <a:pt x="898" y="1"/>
                  </a:lnTo>
                  <a:lnTo>
                    <a:pt x="946" y="0"/>
                  </a:lnTo>
                  <a:lnTo>
                    <a:pt x="946" y="0"/>
                  </a:lnTo>
                  <a:lnTo>
                    <a:pt x="994" y="1"/>
                  </a:lnTo>
                  <a:lnTo>
                    <a:pt x="1043" y="4"/>
                  </a:lnTo>
                  <a:lnTo>
                    <a:pt x="1089" y="10"/>
                  </a:lnTo>
                  <a:lnTo>
                    <a:pt x="1135" y="18"/>
                  </a:lnTo>
                  <a:lnTo>
                    <a:pt x="1179" y="27"/>
                  </a:lnTo>
                  <a:lnTo>
                    <a:pt x="1223" y="40"/>
                  </a:lnTo>
                  <a:lnTo>
                    <a:pt x="1266" y="53"/>
                  </a:lnTo>
                  <a:lnTo>
                    <a:pt x="1309" y="69"/>
                  </a:lnTo>
                  <a:lnTo>
                    <a:pt x="1350" y="88"/>
                  </a:lnTo>
                  <a:lnTo>
                    <a:pt x="1390" y="109"/>
                  </a:lnTo>
                  <a:lnTo>
                    <a:pt x="1430" y="132"/>
                  </a:lnTo>
                  <a:lnTo>
                    <a:pt x="1469" y="157"/>
                  </a:lnTo>
                  <a:lnTo>
                    <a:pt x="1506" y="183"/>
                  </a:lnTo>
                  <a:lnTo>
                    <a:pt x="1543" y="213"/>
                  </a:lnTo>
                  <a:lnTo>
                    <a:pt x="1579" y="245"/>
                  </a:lnTo>
                  <a:lnTo>
                    <a:pt x="1614" y="279"/>
                  </a:lnTo>
                  <a:lnTo>
                    <a:pt x="1614" y="279"/>
                  </a:lnTo>
                  <a:lnTo>
                    <a:pt x="1648" y="314"/>
                  </a:lnTo>
                  <a:lnTo>
                    <a:pt x="1680" y="350"/>
                  </a:lnTo>
                  <a:lnTo>
                    <a:pt x="1709" y="387"/>
                  </a:lnTo>
                  <a:lnTo>
                    <a:pt x="1736" y="425"/>
                  </a:lnTo>
                  <a:lnTo>
                    <a:pt x="1761" y="463"/>
                  </a:lnTo>
                  <a:lnTo>
                    <a:pt x="1784" y="504"/>
                  </a:lnTo>
                  <a:lnTo>
                    <a:pt x="1805" y="543"/>
                  </a:lnTo>
                  <a:lnTo>
                    <a:pt x="1823" y="585"/>
                  </a:lnTo>
                  <a:lnTo>
                    <a:pt x="1840" y="628"/>
                  </a:lnTo>
                  <a:lnTo>
                    <a:pt x="1853" y="670"/>
                  </a:lnTo>
                  <a:lnTo>
                    <a:pt x="1865" y="714"/>
                  </a:lnTo>
                  <a:lnTo>
                    <a:pt x="1875" y="759"/>
                  </a:lnTo>
                  <a:lnTo>
                    <a:pt x="1882" y="805"/>
                  </a:lnTo>
                  <a:lnTo>
                    <a:pt x="1888" y="851"/>
                  </a:lnTo>
                  <a:lnTo>
                    <a:pt x="1891" y="900"/>
                  </a:lnTo>
                  <a:lnTo>
                    <a:pt x="1892" y="948"/>
                  </a:lnTo>
                  <a:lnTo>
                    <a:pt x="1892" y="948"/>
                  </a:lnTo>
                  <a:close/>
                  <a:moveTo>
                    <a:pt x="1827" y="948"/>
                  </a:moveTo>
                  <a:lnTo>
                    <a:pt x="1827" y="948"/>
                  </a:lnTo>
                  <a:lnTo>
                    <a:pt x="1826" y="903"/>
                  </a:lnTo>
                  <a:lnTo>
                    <a:pt x="1822" y="858"/>
                  </a:lnTo>
                  <a:lnTo>
                    <a:pt x="1817" y="815"/>
                  </a:lnTo>
                  <a:lnTo>
                    <a:pt x="1810" y="772"/>
                  </a:lnTo>
                  <a:lnTo>
                    <a:pt x="1801" y="730"/>
                  </a:lnTo>
                  <a:lnTo>
                    <a:pt x="1791" y="689"/>
                  </a:lnTo>
                  <a:lnTo>
                    <a:pt x="1777" y="648"/>
                  </a:lnTo>
                  <a:lnTo>
                    <a:pt x="1762" y="609"/>
                  </a:lnTo>
                  <a:lnTo>
                    <a:pt x="1745" y="571"/>
                  </a:lnTo>
                  <a:lnTo>
                    <a:pt x="1726" y="533"/>
                  </a:lnTo>
                  <a:lnTo>
                    <a:pt x="1704" y="496"/>
                  </a:lnTo>
                  <a:lnTo>
                    <a:pt x="1681" y="460"/>
                  </a:lnTo>
                  <a:lnTo>
                    <a:pt x="1656" y="425"/>
                  </a:lnTo>
                  <a:lnTo>
                    <a:pt x="1628" y="391"/>
                  </a:lnTo>
                  <a:lnTo>
                    <a:pt x="1600" y="358"/>
                  </a:lnTo>
                  <a:lnTo>
                    <a:pt x="1568" y="325"/>
                  </a:lnTo>
                  <a:lnTo>
                    <a:pt x="1568" y="325"/>
                  </a:lnTo>
                  <a:lnTo>
                    <a:pt x="1535" y="293"/>
                  </a:lnTo>
                  <a:lnTo>
                    <a:pt x="1502" y="264"/>
                  </a:lnTo>
                  <a:lnTo>
                    <a:pt x="1469" y="237"/>
                  </a:lnTo>
                  <a:lnTo>
                    <a:pt x="1433" y="212"/>
                  </a:lnTo>
                  <a:lnTo>
                    <a:pt x="1397" y="189"/>
                  </a:lnTo>
                  <a:lnTo>
                    <a:pt x="1360" y="167"/>
                  </a:lnTo>
                  <a:lnTo>
                    <a:pt x="1323" y="148"/>
                  </a:lnTo>
                  <a:lnTo>
                    <a:pt x="1285" y="131"/>
                  </a:lnTo>
                  <a:lnTo>
                    <a:pt x="1245" y="115"/>
                  </a:lnTo>
                  <a:lnTo>
                    <a:pt x="1205" y="102"/>
                  </a:lnTo>
                  <a:lnTo>
                    <a:pt x="1164" y="91"/>
                  </a:lnTo>
                  <a:lnTo>
                    <a:pt x="1121" y="82"/>
                  </a:lnTo>
                  <a:lnTo>
                    <a:pt x="1079" y="76"/>
                  </a:lnTo>
                  <a:lnTo>
                    <a:pt x="1036" y="70"/>
                  </a:lnTo>
                  <a:lnTo>
                    <a:pt x="991" y="67"/>
                  </a:lnTo>
                  <a:lnTo>
                    <a:pt x="946" y="66"/>
                  </a:lnTo>
                  <a:lnTo>
                    <a:pt x="946" y="66"/>
                  </a:lnTo>
                  <a:lnTo>
                    <a:pt x="901" y="67"/>
                  </a:lnTo>
                  <a:lnTo>
                    <a:pt x="856" y="70"/>
                  </a:lnTo>
                  <a:lnTo>
                    <a:pt x="814" y="76"/>
                  </a:lnTo>
                  <a:lnTo>
                    <a:pt x="771" y="82"/>
                  </a:lnTo>
                  <a:lnTo>
                    <a:pt x="729" y="91"/>
                  </a:lnTo>
                  <a:lnTo>
                    <a:pt x="688" y="102"/>
                  </a:lnTo>
                  <a:lnTo>
                    <a:pt x="648" y="115"/>
                  </a:lnTo>
                  <a:lnTo>
                    <a:pt x="609" y="131"/>
                  </a:lnTo>
                  <a:lnTo>
                    <a:pt x="571" y="148"/>
                  </a:lnTo>
                  <a:lnTo>
                    <a:pt x="532" y="167"/>
                  </a:lnTo>
                  <a:lnTo>
                    <a:pt x="496" y="189"/>
                  </a:lnTo>
                  <a:lnTo>
                    <a:pt x="460" y="212"/>
                  </a:lnTo>
                  <a:lnTo>
                    <a:pt x="425" y="237"/>
                  </a:lnTo>
                  <a:lnTo>
                    <a:pt x="390" y="264"/>
                  </a:lnTo>
                  <a:lnTo>
                    <a:pt x="357" y="293"/>
                  </a:lnTo>
                  <a:lnTo>
                    <a:pt x="324" y="325"/>
                  </a:lnTo>
                  <a:lnTo>
                    <a:pt x="324" y="325"/>
                  </a:lnTo>
                  <a:lnTo>
                    <a:pt x="292" y="358"/>
                  </a:lnTo>
                  <a:lnTo>
                    <a:pt x="264" y="391"/>
                  </a:lnTo>
                  <a:lnTo>
                    <a:pt x="237" y="425"/>
                  </a:lnTo>
                  <a:lnTo>
                    <a:pt x="211" y="460"/>
                  </a:lnTo>
                  <a:lnTo>
                    <a:pt x="188" y="496"/>
                  </a:lnTo>
                  <a:lnTo>
                    <a:pt x="168" y="533"/>
                  </a:lnTo>
                  <a:lnTo>
                    <a:pt x="148" y="571"/>
                  </a:lnTo>
                  <a:lnTo>
                    <a:pt x="130" y="609"/>
                  </a:lnTo>
                  <a:lnTo>
                    <a:pt x="116" y="648"/>
                  </a:lnTo>
                  <a:lnTo>
                    <a:pt x="103" y="689"/>
                  </a:lnTo>
                  <a:lnTo>
                    <a:pt x="92" y="730"/>
                  </a:lnTo>
                  <a:lnTo>
                    <a:pt x="82" y="772"/>
                  </a:lnTo>
                  <a:lnTo>
                    <a:pt x="76" y="815"/>
                  </a:lnTo>
                  <a:lnTo>
                    <a:pt x="70" y="858"/>
                  </a:lnTo>
                  <a:lnTo>
                    <a:pt x="68" y="903"/>
                  </a:lnTo>
                  <a:lnTo>
                    <a:pt x="67" y="948"/>
                  </a:lnTo>
                  <a:lnTo>
                    <a:pt x="67" y="948"/>
                  </a:lnTo>
                  <a:lnTo>
                    <a:pt x="68" y="993"/>
                  </a:lnTo>
                  <a:lnTo>
                    <a:pt x="70" y="1038"/>
                  </a:lnTo>
                  <a:lnTo>
                    <a:pt x="76" y="1081"/>
                  </a:lnTo>
                  <a:lnTo>
                    <a:pt x="82" y="1124"/>
                  </a:lnTo>
                  <a:lnTo>
                    <a:pt x="92" y="1165"/>
                  </a:lnTo>
                  <a:lnTo>
                    <a:pt x="103" y="1207"/>
                  </a:lnTo>
                  <a:lnTo>
                    <a:pt x="116" y="1246"/>
                  </a:lnTo>
                  <a:lnTo>
                    <a:pt x="130" y="1286"/>
                  </a:lnTo>
                  <a:lnTo>
                    <a:pt x="148" y="1324"/>
                  </a:lnTo>
                  <a:lnTo>
                    <a:pt x="168" y="1363"/>
                  </a:lnTo>
                  <a:lnTo>
                    <a:pt x="188" y="1399"/>
                  </a:lnTo>
                  <a:lnTo>
                    <a:pt x="211" y="1435"/>
                  </a:lnTo>
                  <a:lnTo>
                    <a:pt x="237" y="1470"/>
                  </a:lnTo>
                  <a:lnTo>
                    <a:pt x="264" y="1505"/>
                  </a:lnTo>
                  <a:lnTo>
                    <a:pt x="292" y="1538"/>
                  </a:lnTo>
                  <a:lnTo>
                    <a:pt x="324" y="1571"/>
                  </a:lnTo>
                  <a:lnTo>
                    <a:pt x="324" y="1571"/>
                  </a:lnTo>
                  <a:lnTo>
                    <a:pt x="357" y="1603"/>
                  </a:lnTo>
                  <a:lnTo>
                    <a:pt x="390" y="1632"/>
                  </a:lnTo>
                  <a:lnTo>
                    <a:pt x="425" y="1659"/>
                  </a:lnTo>
                  <a:lnTo>
                    <a:pt x="460" y="1684"/>
                  </a:lnTo>
                  <a:lnTo>
                    <a:pt x="496" y="1707"/>
                  </a:lnTo>
                  <a:lnTo>
                    <a:pt x="532" y="1728"/>
                  </a:lnTo>
                  <a:lnTo>
                    <a:pt x="571" y="1748"/>
                  </a:lnTo>
                  <a:lnTo>
                    <a:pt x="609" y="1765"/>
                  </a:lnTo>
                  <a:lnTo>
                    <a:pt x="648" y="1780"/>
                  </a:lnTo>
                  <a:lnTo>
                    <a:pt x="688" y="1793"/>
                  </a:lnTo>
                  <a:lnTo>
                    <a:pt x="729" y="1804"/>
                  </a:lnTo>
                  <a:lnTo>
                    <a:pt x="771" y="1814"/>
                  </a:lnTo>
                  <a:lnTo>
                    <a:pt x="814" y="1820"/>
                  </a:lnTo>
                  <a:lnTo>
                    <a:pt x="856" y="1826"/>
                  </a:lnTo>
                  <a:lnTo>
                    <a:pt x="901" y="1828"/>
                  </a:lnTo>
                  <a:lnTo>
                    <a:pt x="946" y="1829"/>
                  </a:lnTo>
                  <a:lnTo>
                    <a:pt x="946" y="1829"/>
                  </a:lnTo>
                  <a:lnTo>
                    <a:pt x="991" y="1828"/>
                  </a:lnTo>
                  <a:lnTo>
                    <a:pt x="1036" y="1826"/>
                  </a:lnTo>
                  <a:lnTo>
                    <a:pt x="1079" y="1820"/>
                  </a:lnTo>
                  <a:lnTo>
                    <a:pt x="1121" y="1814"/>
                  </a:lnTo>
                  <a:lnTo>
                    <a:pt x="1164" y="1804"/>
                  </a:lnTo>
                  <a:lnTo>
                    <a:pt x="1205" y="1793"/>
                  </a:lnTo>
                  <a:lnTo>
                    <a:pt x="1245" y="1780"/>
                  </a:lnTo>
                  <a:lnTo>
                    <a:pt x="1285" y="1765"/>
                  </a:lnTo>
                  <a:lnTo>
                    <a:pt x="1323" y="1748"/>
                  </a:lnTo>
                  <a:lnTo>
                    <a:pt x="1360" y="1728"/>
                  </a:lnTo>
                  <a:lnTo>
                    <a:pt x="1397" y="1707"/>
                  </a:lnTo>
                  <a:lnTo>
                    <a:pt x="1433" y="1684"/>
                  </a:lnTo>
                  <a:lnTo>
                    <a:pt x="1469" y="1659"/>
                  </a:lnTo>
                  <a:lnTo>
                    <a:pt x="1502" y="1632"/>
                  </a:lnTo>
                  <a:lnTo>
                    <a:pt x="1535" y="1603"/>
                  </a:lnTo>
                  <a:lnTo>
                    <a:pt x="1568" y="1571"/>
                  </a:lnTo>
                  <a:lnTo>
                    <a:pt x="1568" y="1571"/>
                  </a:lnTo>
                  <a:lnTo>
                    <a:pt x="1600" y="1538"/>
                  </a:lnTo>
                  <a:lnTo>
                    <a:pt x="1628" y="1505"/>
                  </a:lnTo>
                  <a:lnTo>
                    <a:pt x="1656" y="1470"/>
                  </a:lnTo>
                  <a:lnTo>
                    <a:pt x="1681" y="1435"/>
                  </a:lnTo>
                  <a:lnTo>
                    <a:pt x="1704" y="1399"/>
                  </a:lnTo>
                  <a:lnTo>
                    <a:pt x="1726" y="1363"/>
                  </a:lnTo>
                  <a:lnTo>
                    <a:pt x="1745" y="1324"/>
                  </a:lnTo>
                  <a:lnTo>
                    <a:pt x="1762" y="1286"/>
                  </a:lnTo>
                  <a:lnTo>
                    <a:pt x="1777" y="1246"/>
                  </a:lnTo>
                  <a:lnTo>
                    <a:pt x="1791" y="1207"/>
                  </a:lnTo>
                  <a:lnTo>
                    <a:pt x="1801" y="1165"/>
                  </a:lnTo>
                  <a:lnTo>
                    <a:pt x="1810" y="1124"/>
                  </a:lnTo>
                  <a:lnTo>
                    <a:pt x="1817" y="1081"/>
                  </a:lnTo>
                  <a:lnTo>
                    <a:pt x="1822" y="1038"/>
                  </a:lnTo>
                  <a:lnTo>
                    <a:pt x="1826" y="993"/>
                  </a:lnTo>
                  <a:lnTo>
                    <a:pt x="1827" y="948"/>
                  </a:lnTo>
                  <a:lnTo>
                    <a:pt x="1827" y="9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sz="1584" dirty="0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2601795" y="3069996"/>
              <a:ext cx="294269" cy="295450"/>
            </a:xfrm>
            <a:custGeom>
              <a:avLst/>
              <a:gdLst/>
              <a:ahLst/>
              <a:cxnLst>
                <a:cxn ang="0">
                  <a:pos x="667" y="28"/>
                </a:cxn>
                <a:cxn ang="0">
                  <a:pos x="424" y="5"/>
                </a:cxn>
                <a:cxn ang="0">
                  <a:pos x="184" y="112"/>
                </a:cxn>
                <a:cxn ang="0">
                  <a:pos x="37" y="307"/>
                </a:cxn>
                <a:cxn ang="0">
                  <a:pos x="1" y="519"/>
                </a:cxn>
                <a:cxn ang="0">
                  <a:pos x="55" y="726"/>
                </a:cxn>
                <a:cxn ang="0">
                  <a:pos x="210" y="906"/>
                </a:cxn>
                <a:cxn ang="0">
                  <a:pos x="449" y="996"/>
                </a:cxn>
                <a:cxn ang="0">
                  <a:pos x="684" y="963"/>
                </a:cxn>
                <a:cxn ang="0">
                  <a:pos x="876" y="823"/>
                </a:cxn>
                <a:cxn ang="0">
                  <a:pos x="987" y="594"/>
                </a:cxn>
                <a:cxn ang="0">
                  <a:pos x="991" y="423"/>
                </a:cxn>
                <a:cxn ang="0">
                  <a:pos x="885" y="184"/>
                </a:cxn>
                <a:cxn ang="0">
                  <a:pos x="523" y="639"/>
                </a:cxn>
                <a:cxn ang="0">
                  <a:pos x="389" y="487"/>
                </a:cxn>
                <a:cxn ang="0">
                  <a:pos x="523" y="359"/>
                </a:cxn>
                <a:cxn ang="0">
                  <a:pos x="343" y="341"/>
                </a:cxn>
                <a:cxn ang="0">
                  <a:pos x="219" y="374"/>
                </a:cxn>
                <a:cxn ang="0">
                  <a:pos x="335" y="542"/>
                </a:cxn>
                <a:cxn ang="0">
                  <a:pos x="212" y="579"/>
                </a:cxn>
                <a:cxn ang="0">
                  <a:pos x="771" y="653"/>
                </a:cxn>
                <a:cxn ang="0">
                  <a:pos x="660" y="415"/>
                </a:cxn>
                <a:cxn ang="0">
                  <a:pos x="779" y="374"/>
                </a:cxn>
                <a:cxn ang="0">
                  <a:pos x="631" y="195"/>
                </a:cxn>
                <a:cxn ang="0">
                  <a:pos x="666" y="137"/>
                </a:cxn>
                <a:cxn ang="0">
                  <a:pos x="696" y="275"/>
                </a:cxn>
                <a:cxn ang="0">
                  <a:pos x="262" y="241"/>
                </a:cxn>
                <a:cxn ang="0">
                  <a:pos x="386" y="90"/>
                </a:cxn>
                <a:cxn ang="0">
                  <a:pos x="349" y="288"/>
                </a:cxn>
                <a:cxn ang="0">
                  <a:pos x="128" y="255"/>
                </a:cxn>
                <a:cxn ang="0">
                  <a:pos x="153" y="461"/>
                </a:cxn>
                <a:cxn ang="0">
                  <a:pos x="179" y="690"/>
                </a:cxn>
                <a:cxn ang="0">
                  <a:pos x="66" y="596"/>
                </a:cxn>
                <a:cxn ang="0">
                  <a:pos x="389" y="879"/>
                </a:cxn>
                <a:cxn ang="0">
                  <a:pos x="299" y="819"/>
                </a:cxn>
                <a:cxn ang="0">
                  <a:pos x="349" y="710"/>
                </a:cxn>
                <a:cxn ang="0">
                  <a:pos x="707" y="805"/>
                </a:cxn>
                <a:cxn ang="0">
                  <a:pos x="600" y="901"/>
                </a:cxn>
                <a:cxn ang="0">
                  <a:pos x="938" y="542"/>
                </a:cxn>
                <a:cxn ang="0">
                  <a:pos x="811" y="710"/>
                </a:cxn>
                <a:cxn ang="0">
                  <a:pos x="811" y="288"/>
                </a:cxn>
                <a:cxn ang="0">
                  <a:pos x="940" y="455"/>
                </a:cxn>
                <a:cxn ang="0">
                  <a:pos x="811" y="288"/>
                </a:cxn>
                <a:cxn ang="0">
                  <a:pos x="735" y="124"/>
                </a:cxn>
                <a:cxn ang="0">
                  <a:pos x="793" y="237"/>
                </a:cxn>
                <a:cxn ang="0">
                  <a:pos x="402" y="297"/>
                </a:cxn>
                <a:cxn ang="0">
                  <a:pos x="471" y="74"/>
                </a:cxn>
                <a:cxn ang="0">
                  <a:pos x="526" y="74"/>
                </a:cxn>
                <a:cxn ang="0">
                  <a:pos x="595" y="297"/>
                </a:cxn>
                <a:cxn ang="0">
                  <a:pos x="183" y="225"/>
                </a:cxn>
                <a:cxn ang="0">
                  <a:pos x="278" y="114"/>
                </a:cxn>
                <a:cxn ang="0">
                  <a:pos x="246" y="863"/>
                </a:cxn>
                <a:cxn ang="0">
                  <a:pos x="402" y="701"/>
                </a:cxn>
                <a:cxn ang="0">
                  <a:pos x="586" y="752"/>
                </a:cxn>
                <a:cxn ang="0">
                  <a:pos x="519" y="931"/>
                </a:cxn>
                <a:cxn ang="0">
                  <a:pos x="463" y="912"/>
                </a:cxn>
                <a:cxn ang="0">
                  <a:pos x="402" y="701"/>
                </a:cxn>
                <a:cxn ang="0">
                  <a:pos x="835" y="786"/>
                </a:cxn>
              </a:cxnLst>
              <a:rect l="0" t="0" r="r" b="b"/>
              <a:pathLst>
                <a:path w="996" h="998">
                  <a:moveTo>
                    <a:pt x="851" y="146"/>
                  </a:moveTo>
                  <a:lnTo>
                    <a:pt x="851" y="146"/>
                  </a:lnTo>
                  <a:lnTo>
                    <a:pt x="832" y="128"/>
                  </a:lnTo>
                  <a:lnTo>
                    <a:pt x="814" y="112"/>
                  </a:lnTo>
                  <a:lnTo>
                    <a:pt x="794" y="96"/>
                  </a:lnTo>
                  <a:lnTo>
                    <a:pt x="774" y="82"/>
                  </a:lnTo>
                  <a:lnTo>
                    <a:pt x="753" y="69"/>
                  </a:lnTo>
                  <a:lnTo>
                    <a:pt x="733" y="57"/>
                  </a:lnTo>
                  <a:lnTo>
                    <a:pt x="711" y="47"/>
                  </a:lnTo>
                  <a:lnTo>
                    <a:pt x="690" y="37"/>
                  </a:lnTo>
                  <a:lnTo>
                    <a:pt x="667" y="28"/>
                  </a:lnTo>
                  <a:lnTo>
                    <a:pt x="644" y="21"/>
                  </a:lnTo>
                  <a:lnTo>
                    <a:pt x="621" y="14"/>
                  </a:lnTo>
                  <a:lnTo>
                    <a:pt x="598" y="10"/>
                  </a:lnTo>
                  <a:lnTo>
                    <a:pt x="574" y="5"/>
                  </a:lnTo>
                  <a:lnTo>
                    <a:pt x="549" y="2"/>
                  </a:lnTo>
                  <a:lnTo>
                    <a:pt x="523" y="1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73" y="1"/>
                  </a:lnTo>
                  <a:lnTo>
                    <a:pt x="448" y="2"/>
                  </a:lnTo>
                  <a:lnTo>
                    <a:pt x="424" y="5"/>
                  </a:lnTo>
                  <a:lnTo>
                    <a:pt x="400" y="10"/>
                  </a:lnTo>
                  <a:lnTo>
                    <a:pt x="376" y="14"/>
                  </a:lnTo>
                  <a:lnTo>
                    <a:pt x="353" y="21"/>
                  </a:lnTo>
                  <a:lnTo>
                    <a:pt x="330" y="28"/>
                  </a:lnTo>
                  <a:lnTo>
                    <a:pt x="308" y="37"/>
                  </a:lnTo>
                  <a:lnTo>
                    <a:pt x="286" y="47"/>
                  </a:lnTo>
                  <a:lnTo>
                    <a:pt x="264" y="57"/>
                  </a:lnTo>
                  <a:lnTo>
                    <a:pt x="243" y="69"/>
                  </a:lnTo>
                  <a:lnTo>
                    <a:pt x="223" y="82"/>
                  </a:lnTo>
                  <a:lnTo>
                    <a:pt x="202" y="96"/>
                  </a:lnTo>
                  <a:lnTo>
                    <a:pt x="184" y="112"/>
                  </a:lnTo>
                  <a:lnTo>
                    <a:pt x="164" y="128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29" y="164"/>
                  </a:lnTo>
                  <a:lnTo>
                    <a:pt x="113" y="184"/>
                  </a:lnTo>
                  <a:lnTo>
                    <a:pt x="97" y="203"/>
                  </a:lnTo>
                  <a:lnTo>
                    <a:pt x="83" y="223"/>
                  </a:lnTo>
                  <a:lnTo>
                    <a:pt x="70" y="243"/>
                  </a:lnTo>
                  <a:lnTo>
                    <a:pt x="58" y="264"/>
                  </a:lnTo>
                  <a:lnTo>
                    <a:pt x="47" y="286"/>
                  </a:lnTo>
                  <a:lnTo>
                    <a:pt x="37" y="307"/>
                  </a:lnTo>
                  <a:lnTo>
                    <a:pt x="28" y="330"/>
                  </a:lnTo>
                  <a:lnTo>
                    <a:pt x="21" y="353"/>
                  </a:lnTo>
                  <a:lnTo>
                    <a:pt x="15" y="376"/>
                  </a:lnTo>
                  <a:lnTo>
                    <a:pt x="10" y="399"/>
                  </a:lnTo>
                  <a:lnTo>
                    <a:pt x="5" y="423"/>
                  </a:lnTo>
                  <a:lnTo>
                    <a:pt x="3" y="449"/>
                  </a:lnTo>
                  <a:lnTo>
                    <a:pt x="1" y="474"/>
                  </a:lnTo>
                  <a:lnTo>
                    <a:pt x="0" y="499"/>
                  </a:lnTo>
                  <a:lnTo>
                    <a:pt x="0" y="514"/>
                  </a:lnTo>
                  <a:lnTo>
                    <a:pt x="0" y="514"/>
                  </a:lnTo>
                  <a:lnTo>
                    <a:pt x="1" y="519"/>
                  </a:lnTo>
                  <a:lnTo>
                    <a:pt x="2" y="523"/>
                  </a:lnTo>
                  <a:lnTo>
                    <a:pt x="2" y="523"/>
                  </a:lnTo>
                  <a:lnTo>
                    <a:pt x="4" y="547"/>
                  </a:lnTo>
                  <a:lnTo>
                    <a:pt x="6" y="571"/>
                  </a:lnTo>
                  <a:lnTo>
                    <a:pt x="11" y="594"/>
                  </a:lnTo>
                  <a:lnTo>
                    <a:pt x="15" y="618"/>
                  </a:lnTo>
                  <a:lnTo>
                    <a:pt x="21" y="641"/>
                  </a:lnTo>
                  <a:lnTo>
                    <a:pt x="28" y="662"/>
                  </a:lnTo>
                  <a:lnTo>
                    <a:pt x="36" y="684"/>
                  </a:lnTo>
                  <a:lnTo>
                    <a:pt x="45" y="705"/>
                  </a:lnTo>
                  <a:lnTo>
                    <a:pt x="55" y="726"/>
                  </a:lnTo>
                  <a:lnTo>
                    <a:pt x="66" y="746"/>
                  </a:lnTo>
                  <a:lnTo>
                    <a:pt x="78" y="767"/>
                  </a:lnTo>
                  <a:lnTo>
                    <a:pt x="91" y="785"/>
                  </a:lnTo>
                  <a:lnTo>
                    <a:pt x="105" y="804"/>
                  </a:lnTo>
                  <a:lnTo>
                    <a:pt x="120" y="823"/>
                  </a:lnTo>
                  <a:lnTo>
                    <a:pt x="137" y="841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72" y="875"/>
                  </a:lnTo>
                  <a:lnTo>
                    <a:pt x="190" y="891"/>
                  </a:lnTo>
                  <a:lnTo>
                    <a:pt x="210" y="906"/>
                  </a:lnTo>
                  <a:lnTo>
                    <a:pt x="230" y="919"/>
                  </a:lnTo>
                  <a:lnTo>
                    <a:pt x="250" y="931"/>
                  </a:lnTo>
                  <a:lnTo>
                    <a:pt x="270" y="943"/>
                  </a:lnTo>
                  <a:lnTo>
                    <a:pt x="291" y="953"/>
                  </a:lnTo>
                  <a:lnTo>
                    <a:pt x="312" y="963"/>
                  </a:lnTo>
                  <a:lnTo>
                    <a:pt x="334" y="971"/>
                  </a:lnTo>
                  <a:lnTo>
                    <a:pt x="356" y="978"/>
                  </a:lnTo>
                  <a:lnTo>
                    <a:pt x="379" y="984"/>
                  </a:lnTo>
                  <a:lnTo>
                    <a:pt x="402" y="989"/>
                  </a:lnTo>
                  <a:lnTo>
                    <a:pt x="425" y="993"/>
                  </a:lnTo>
                  <a:lnTo>
                    <a:pt x="449" y="996"/>
                  </a:lnTo>
                  <a:lnTo>
                    <a:pt x="474" y="997"/>
                  </a:lnTo>
                  <a:lnTo>
                    <a:pt x="498" y="998"/>
                  </a:lnTo>
                  <a:lnTo>
                    <a:pt x="498" y="998"/>
                  </a:lnTo>
                  <a:lnTo>
                    <a:pt x="523" y="997"/>
                  </a:lnTo>
                  <a:lnTo>
                    <a:pt x="547" y="996"/>
                  </a:lnTo>
                  <a:lnTo>
                    <a:pt x="572" y="993"/>
                  </a:lnTo>
                  <a:lnTo>
                    <a:pt x="595" y="989"/>
                  </a:lnTo>
                  <a:lnTo>
                    <a:pt x="618" y="984"/>
                  </a:lnTo>
                  <a:lnTo>
                    <a:pt x="641" y="978"/>
                  </a:lnTo>
                  <a:lnTo>
                    <a:pt x="662" y="971"/>
                  </a:lnTo>
                  <a:lnTo>
                    <a:pt x="684" y="963"/>
                  </a:lnTo>
                  <a:lnTo>
                    <a:pt x="706" y="953"/>
                  </a:lnTo>
                  <a:lnTo>
                    <a:pt x="727" y="943"/>
                  </a:lnTo>
                  <a:lnTo>
                    <a:pt x="747" y="931"/>
                  </a:lnTo>
                  <a:lnTo>
                    <a:pt x="768" y="919"/>
                  </a:lnTo>
                  <a:lnTo>
                    <a:pt x="786" y="906"/>
                  </a:lnTo>
                  <a:lnTo>
                    <a:pt x="806" y="891"/>
                  </a:lnTo>
                  <a:lnTo>
                    <a:pt x="825" y="875"/>
                  </a:lnTo>
                  <a:lnTo>
                    <a:pt x="842" y="859"/>
                  </a:lnTo>
                  <a:lnTo>
                    <a:pt x="842" y="859"/>
                  </a:lnTo>
                  <a:lnTo>
                    <a:pt x="860" y="841"/>
                  </a:lnTo>
                  <a:lnTo>
                    <a:pt x="876" y="823"/>
                  </a:lnTo>
                  <a:lnTo>
                    <a:pt x="891" y="804"/>
                  </a:lnTo>
                  <a:lnTo>
                    <a:pt x="906" y="785"/>
                  </a:lnTo>
                  <a:lnTo>
                    <a:pt x="919" y="767"/>
                  </a:lnTo>
                  <a:lnTo>
                    <a:pt x="931" y="746"/>
                  </a:lnTo>
                  <a:lnTo>
                    <a:pt x="942" y="726"/>
                  </a:lnTo>
                  <a:lnTo>
                    <a:pt x="952" y="705"/>
                  </a:lnTo>
                  <a:lnTo>
                    <a:pt x="960" y="684"/>
                  </a:lnTo>
                  <a:lnTo>
                    <a:pt x="969" y="662"/>
                  </a:lnTo>
                  <a:lnTo>
                    <a:pt x="976" y="641"/>
                  </a:lnTo>
                  <a:lnTo>
                    <a:pt x="981" y="618"/>
                  </a:lnTo>
                  <a:lnTo>
                    <a:pt x="987" y="594"/>
                  </a:lnTo>
                  <a:lnTo>
                    <a:pt x="990" y="571"/>
                  </a:lnTo>
                  <a:lnTo>
                    <a:pt x="992" y="547"/>
                  </a:lnTo>
                  <a:lnTo>
                    <a:pt x="994" y="523"/>
                  </a:lnTo>
                  <a:lnTo>
                    <a:pt x="994" y="523"/>
                  </a:lnTo>
                  <a:lnTo>
                    <a:pt x="995" y="518"/>
                  </a:lnTo>
                  <a:lnTo>
                    <a:pt x="996" y="514"/>
                  </a:lnTo>
                  <a:lnTo>
                    <a:pt x="996" y="499"/>
                  </a:lnTo>
                  <a:lnTo>
                    <a:pt x="996" y="499"/>
                  </a:lnTo>
                  <a:lnTo>
                    <a:pt x="995" y="474"/>
                  </a:lnTo>
                  <a:lnTo>
                    <a:pt x="994" y="449"/>
                  </a:lnTo>
                  <a:lnTo>
                    <a:pt x="991" y="423"/>
                  </a:lnTo>
                  <a:lnTo>
                    <a:pt x="987" y="399"/>
                  </a:lnTo>
                  <a:lnTo>
                    <a:pt x="982" y="376"/>
                  </a:lnTo>
                  <a:lnTo>
                    <a:pt x="976" y="353"/>
                  </a:lnTo>
                  <a:lnTo>
                    <a:pt x="968" y="330"/>
                  </a:lnTo>
                  <a:lnTo>
                    <a:pt x="959" y="307"/>
                  </a:lnTo>
                  <a:lnTo>
                    <a:pt x="949" y="286"/>
                  </a:lnTo>
                  <a:lnTo>
                    <a:pt x="940" y="264"/>
                  </a:lnTo>
                  <a:lnTo>
                    <a:pt x="927" y="243"/>
                  </a:lnTo>
                  <a:lnTo>
                    <a:pt x="914" y="223"/>
                  </a:lnTo>
                  <a:lnTo>
                    <a:pt x="900" y="203"/>
                  </a:lnTo>
                  <a:lnTo>
                    <a:pt x="885" y="184"/>
                  </a:lnTo>
                  <a:lnTo>
                    <a:pt x="868" y="164"/>
                  </a:lnTo>
                  <a:lnTo>
                    <a:pt x="851" y="146"/>
                  </a:lnTo>
                  <a:lnTo>
                    <a:pt x="851" y="146"/>
                  </a:lnTo>
                  <a:close/>
                  <a:moveTo>
                    <a:pt x="608" y="542"/>
                  </a:moveTo>
                  <a:lnTo>
                    <a:pt x="608" y="542"/>
                  </a:lnTo>
                  <a:lnTo>
                    <a:pt x="604" y="596"/>
                  </a:lnTo>
                  <a:lnTo>
                    <a:pt x="601" y="646"/>
                  </a:lnTo>
                  <a:lnTo>
                    <a:pt x="601" y="646"/>
                  </a:lnTo>
                  <a:lnTo>
                    <a:pt x="575" y="643"/>
                  </a:lnTo>
                  <a:lnTo>
                    <a:pt x="549" y="641"/>
                  </a:lnTo>
                  <a:lnTo>
                    <a:pt x="523" y="639"/>
                  </a:lnTo>
                  <a:lnTo>
                    <a:pt x="498" y="638"/>
                  </a:lnTo>
                  <a:lnTo>
                    <a:pt x="498" y="638"/>
                  </a:lnTo>
                  <a:lnTo>
                    <a:pt x="473" y="639"/>
                  </a:lnTo>
                  <a:lnTo>
                    <a:pt x="448" y="641"/>
                  </a:lnTo>
                  <a:lnTo>
                    <a:pt x="422" y="643"/>
                  </a:lnTo>
                  <a:lnTo>
                    <a:pt x="395" y="646"/>
                  </a:lnTo>
                  <a:lnTo>
                    <a:pt x="395" y="646"/>
                  </a:lnTo>
                  <a:lnTo>
                    <a:pt x="392" y="594"/>
                  </a:lnTo>
                  <a:lnTo>
                    <a:pt x="390" y="542"/>
                  </a:lnTo>
                  <a:lnTo>
                    <a:pt x="608" y="542"/>
                  </a:lnTo>
                  <a:close/>
                  <a:moveTo>
                    <a:pt x="389" y="487"/>
                  </a:moveTo>
                  <a:lnTo>
                    <a:pt x="389" y="487"/>
                  </a:lnTo>
                  <a:lnTo>
                    <a:pt x="390" y="453"/>
                  </a:lnTo>
                  <a:lnTo>
                    <a:pt x="391" y="419"/>
                  </a:lnTo>
                  <a:lnTo>
                    <a:pt x="393" y="385"/>
                  </a:lnTo>
                  <a:lnTo>
                    <a:pt x="395" y="351"/>
                  </a:lnTo>
                  <a:lnTo>
                    <a:pt x="395" y="351"/>
                  </a:lnTo>
                  <a:lnTo>
                    <a:pt x="422" y="354"/>
                  </a:lnTo>
                  <a:lnTo>
                    <a:pt x="448" y="357"/>
                  </a:lnTo>
                  <a:lnTo>
                    <a:pt x="473" y="359"/>
                  </a:lnTo>
                  <a:lnTo>
                    <a:pt x="498" y="359"/>
                  </a:lnTo>
                  <a:lnTo>
                    <a:pt x="523" y="359"/>
                  </a:lnTo>
                  <a:lnTo>
                    <a:pt x="550" y="357"/>
                  </a:lnTo>
                  <a:lnTo>
                    <a:pt x="575" y="354"/>
                  </a:lnTo>
                  <a:lnTo>
                    <a:pt x="601" y="351"/>
                  </a:lnTo>
                  <a:lnTo>
                    <a:pt x="601" y="351"/>
                  </a:lnTo>
                  <a:lnTo>
                    <a:pt x="603" y="385"/>
                  </a:lnTo>
                  <a:lnTo>
                    <a:pt x="605" y="419"/>
                  </a:lnTo>
                  <a:lnTo>
                    <a:pt x="607" y="453"/>
                  </a:lnTo>
                  <a:lnTo>
                    <a:pt x="608" y="487"/>
                  </a:lnTo>
                  <a:lnTo>
                    <a:pt x="389" y="487"/>
                  </a:lnTo>
                  <a:close/>
                  <a:moveTo>
                    <a:pt x="343" y="341"/>
                  </a:moveTo>
                  <a:lnTo>
                    <a:pt x="343" y="341"/>
                  </a:lnTo>
                  <a:lnTo>
                    <a:pt x="339" y="377"/>
                  </a:lnTo>
                  <a:lnTo>
                    <a:pt x="337" y="413"/>
                  </a:lnTo>
                  <a:lnTo>
                    <a:pt x="335" y="451"/>
                  </a:lnTo>
                  <a:lnTo>
                    <a:pt x="334" y="487"/>
                  </a:lnTo>
                  <a:lnTo>
                    <a:pt x="207" y="487"/>
                  </a:lnTo>
                  <a:lnTo>
                    <a:pt x="207" y="487"/>
                  </a:lnTo>
                  <a:lnTo>
                    <a:pt x="208" y="464"/>
                  </a:lnTo>
                  <a:lnTo>
                    <a:pt x="209" y="441"/>
                  </a:lnTo>
                  <a:lnTo>
                    <a:pt x="211" y="418"/>
                  </a:lnTo>
                  <a:lnTo>
                    <a:pt x="215" y="396"/>
                  </a:lnTo>
                  <a:lnTo>
                    <a:pt x="219" y="374"/>
                  </a:lnTo>
                  <a:lnTo>
                    <a:pt x="223" y="352"/>
                  </a:lnTo>
                  <a:lnTo>
                    <a:pt x="229" y="331"/>
                  </a:lnTo>
                  <a:lnTo>
                    <a:pt x="234" y="310"/>
                  </a:lnTo>
                  <a:lnTo>
                    <a:pt x="234" y="310"/>
                  </a:lnTo>
                  <a:lnTo>
                    <a:pt x="261" y="319"/>
                  </a:lnTo>
                  <a:lnTo>
                    <a:pt x="288" y="328"/>
                  </a:lnTo>
                  <a:lnTo>
                    <a:pt x="315" y="334"/>
                  </a:lnTo>
                  <a:lnTo>
                    <a:pt x="343" y="341"/>
                  </a:lnTo>
                  <a:lnTo>
                    <a:pt x="343" y="341"/>
                  </a:lnTo>
                  <a:close/>
                  <a:moveTo>
                    <a:pt x="335" y="542"/>
                  </a:moveTo>
                  <a:lnTo>
                    <a:pt x="335" y="542"/>
                  </a:lnTo>
                  <a:lnTo>
                    <a:pt x="337" y="600"/>
                  </a:lnTo>
                  <a:lnTo>
                    <a:pt x="343" y="656"/>
                  </a:lnTo>
                  <a:lnTo>
                    <a:pt x="343" y="656"/>
                  </a:lnTo>
                  <a:lnTo>
                    <a:pt x="314" y="662"/>
                  </a:lnTo>
                  <a:lnTo>
                    <a:pt x="288" y="670"/>
                  </a:lnTo>
                  <a:lnTo>
                    <a:pt x="261" y="679"/>
                  </a:lnTo>
                  <a:lnTo>
                    <a:pt x="234" y="688"/>
                  </a:lnTo>
                  <a:lnTo>
                    <a:pt x="234" y="688"/>
                  </a:lnTo>
                  <a:lnTo>
                    <a:pt x="225" y="653"/>
                  </a:lnTo>
                  <a:lnTo>
                    <a:pt x="218" y="616"/>
                  </a:lnTo>
                  <a:lnTo>
                    <a:pt x="212" y="579"/>
                  </a:lnTo>
                  <a:lnTo>
                    <a:pt x="209" y="542"/>
                  </a:lnTo>
                  <a:lnTo>
                    <a:pt x="335" y="542"/>
                  </a:lnTo>
                  <a:close/>
                  <a:moveTo>
                    <a:pt x="654" y="656"/>
                  </a:moveTo>
                  <a:lnTo>
                    <a:pt x="654" y="656"/>
                  </a:lnTo>
                  <a:lnTo>
                    <a:pt x="659" y="600"/>
                  </a:lnTo>
                  <a:lnTo>
                    <a:pt x="662" y="542"/>
                  </a:lnTo>
                  <a:lnTo>
                    <a:pt x="787" y="542"/>
                  </a:lnTo>
                  <a:lnTo>
                    <a:pt x="787" y="542"/>
                  </a:lnTo>
                  <a:lnTo>
                    <a:pt x="784" y="579"/>
                  </a:lnTo>
                  <a:lnTo>
                    <a:pt x="779" y="616"/>
                  </a:lnTo>
                  <a:lnTo>
                    <a:pt x="771" y="653"/>
                  </a:lnTo>
                  <a:lnTo>
                    <a:pt x="762" y="688"/>
                  </a:lnTo>
                  <a:lnTo>
                    <a:pt x="762" y="688"/>
                  </a:lnTo>
                  <a:lnTo>
                    <a:pt x="736" y="679"/>
                  </a:lnTo>
                  <a:lnTo>
                    <a:pt x="710" y="670"/>
                  </a:lnTo>
                  <a:lnTo>
                    <a:pt x="682" y="662"/>
                  </a:lnTo>
                  <a:lnTo>
                    <a:pt x="654" y="656"/>
                  </a:lnTo>
                  <a:lnTo>
                    <a:pt x="654" y="656"/>
                  </a:lnTo>
                  <a:close/>
                  <a:moveTo>
                    <a:pt x="662" y="487"/>
                  </a:moveTo>
                  <a:lnTo>
                    <a:pt x="662" y="487"/>
                  </a:lnTo>
                  <a:lnTo>
                    <a:pt x="661" y="451"/>
                  </a:lnTo>
                  <a:lnTo>
                    <a:pt x="660" y="415"/>
                  </a:lnTo>
                  <a:lnTo>
                    <a:pt x="657" y="377"/>
                  </a:lnTo>
                  <a:lnTo>
                    <a:pt x="654" y="341"/>
                  </a:lnTo>
                  <a:lnTo>
                    <a:pt x="654" y="341"/>
                  </a:lnTo>
                  <a:lnTo>
                    <a:pt x="682" y="336"/>
                  </a:lnTo>
                  <a:lnTo>
                    <a:pt x="710" y="328"/>
                  </a:lnTo>
                  <a:lnTo>
                    <a:pt x="736" y="319"/>
                  </a:lnTo>
                  <a:lnTo>
                    <a:pt x="762" y="310"/>
                  </a:lnTo>
                  <a:lnTo>
                    <a:pt x="762" y="310"/>
                  </a:lnTo>
                  <a:lnTo>
                    <a:pt x="768" y="331"/>
                  </a:lnTo>
                  <a:lnTo>
                    <a:pt x="773" y="352"/>
                  </a:lnTo>
                  <a:lnTo>
                    <a:pt x="779" y="374"/>
                  </a:lnTo>
                  <a:lnTo>
                    <a:pt x="782" y="396"/>
                  </a:lnTo>
                  <a:lnTo>
                    <a:pt x="785" y="419"/>
                  </a:lnTo>
                  <a:lnTo>
                    <a:pt x="787" y="441"/>
                  </a:lnTo>
                  <a:lnTo>
                    <a:pt x="788" y="464"/>
                  </a:lnTo>
                  <a:lnTo>
                    <a:pt x="789" y="487"/>
                  </a:lnTo>
                  <a:lnTo>
                    <a:pt x="662" y="487"/>
                  </a:lnTo>
                  <a:close/>
                  <a:moveTo>
                    <a:pt x="647" y="288"/>
                  </a:moveTo>
                  <a:lnTo>
                    <a:pt x="647" y="288"/>
                  </a:lnTo>
                  <a:lnTo>
                    <a:pt x="642" y="255"/>
                  </a:lnTo>
                  <a:lnTo>
                    <a:pt x="636" y="225"/>
                  </a:lnTo>
                  <a:lnTo>
                    <a:pt x="631" y="195"/>
                  </a:lnTo>
                  <a:lnTo>
                    <a:pt x="624" y="168"/>
                  </a:lnTo>
                  <a:lnTo>
                    <a:pt x="616" y="142"/>
                  </a:lnTo>
                  <a:lnTo>
                    <a:pt x="609" y="119"/>
                  </a:lnTo>
                  <a:lnTo>
                    <a:pt x="600" y="97"/>
                  </a:lnTo>
                  <a:lnTo>
                    <a:pt x="590" y="78"/>
                  </a:lnTo>
                  <a:lnTo>
                    <a:pt x="590" y="78"/>
                  </a:lnTo>
                  <a:lnTo>
                    <a:pt x="611" y="90"/>
                  </a:lnTo>
                  <a:lnTo>
                    <a:pt x="630" y="104"/>
                  </a:lnTo>
                  <a:lnTo>
                    <a:pt x="648" y="119"/>
                  </a:lnTo>
                  <a:lnTo>
                    <a:pt x="666" y="137"/>
                  </a:lnTo>
                  <a:lnTo>
                    <a:pt x="666" y="137"/>
                  </a:lnTo>
                  <a:lnTo>
                    <a:pt x="677" y="150"/>
                  </a:lnTo>
                  <a:lnTo>
                    <a:pt x="688" y="164"/>
                  </a:lnTo>
                  <a:lnTo>
                    <a:pt x="699" y="179"/>
                  </a:lnTo>
                  <a:lnTo>
                    <a:pt x="707" y="193"/>
                  </a:lnTo>
                  <a:lnTo>
                    <a:pt x="717" y="208"/>
                  </a:lnTo>
                  <a:lnTo>
                    <a:pt x="726" y="225"/>
                  </a:lnTo>
                  <a:lnTo>
                    <a:pt x="735" y="241"/>
                  </a:lnTo>
                  <a:lnTo>
                    <a:pt x="742" y="259"/>
                  </a:lnTo>
                  <a:lnTo>
                    <a:pt x="742" y="259"/>
                  </a:lnTo>
                  <a:lnTo>
                    <a:pt x="719" y="267"/>
                  </a:lnTo>
                  <a:lnTo>
                    <a:pt x="696" y="275"/>
                  </a:lnTo>
                  <a:lnTo>
                    <a:pt x="672" y="282"/>
                  </a:lnTo>
                  <a:lnTo>
                    <a:pt x="647" y="288"/>
                  </a:lnTo>
                  <a:lnTo>
                    <a:pt x="647" y="288"/>
                  </a:lnTo>
                  <a:close/>
                  <a:moveTo>
                    <a:pt x="349" y="288"/>
                  </a:moveTo>
                  <a:lnTo>
                    <a:pt x="349" y="288"/>
                  </a:lnTo>
                  <a:lnTo>
                    <a:pt x="325" y="282"/>
                  </a:lnTo>
                  <a:lnTo>
                    <a:pt x="301" y="275"/>
                  </a:lnTo>
                  <a:lnTo>
                    <a:pt x="277" y="267"/>
                  </a:lnTo>
                  <a:lnTo>
                    <a:pt x="254" y="259"/>
                  </a:lnTo>
                  <a:lnTo>
                    <a:pt x="254" y="259"/>
                  </a:lnTo>
                  <a:lnTo>
                    <a:pt x="262" y="241"/>
                  </a:lnTo>
                  <a:lnTo>
                    <a:pt x="270" y="225"/>
                  </a:lnTo>
                  <a:lnTo>
                    <a:pt x="279" y="208"/>
                  </a:lnTo>
                  <a:lnTo>
                    <a:pt x="289" y="193"/>
                  </a:lnTo>
                  <a:lnTo>
                    <a:pt x="299" y="179"/>
                  </a:lnTo>
                  <a:lnTo>
                    <a:pt x="309" y="164"/>
                  </a:lnTo>
                  <a:lnTo>
                    <a:pt x="320" y="150"/>
                  </a:lnTo>
                  <a:lnTo>
                    <a:pt x="331" y="137"/>
                  </a:lnTo>
                  <a:lnTo>
                    <a:pt x="331" y="137"/>
                  </a:lnTo>
                  <a:lnTo>
                    <a:pt x="348" y="119"/>
                  </a:lnTo>
                  <a:lnTo>
                    <a:pt x="367" y="104"/>
                  </a:lnTo>
                  <a:lnTo>
                    <a:pt x="386" y="90"/>
                  </a:lnTo>
                  <a:lnTo>
                    <a:pt x="406" y="79"/>
                  </a:lnTo>
                  <a:lnTo>
                    <a:pt x="406" y="79"/>
                  </a:lnTo>
                  <a:lnTo>
                    <a:pt x="396" y="97"/>
                  </a:lnTo>
                  <a:lnTo>
                    <a:pt x="389" y="119"/>
                  </a:lnTo>
                  <a:lnTo>
                    <a:pt x="380" y="142"/>
                  </a:lnTo>
                  <a:lnTo>
                    <a:pt x="373" y="168"/>
                  </a:lnTo>
                  <a:lnTo>
                    <a:pt x="366" y="195"/>
                  </a:lnTo>
                  <a:lnTo>
                    <a:pt x="360" y="224"/>
                  </a:lnTo>
                  <a:lnTo>
                    <a:pt x="355" y="255"/>
                  </a:lnTo>
                  <a:lnTo>
                    <a:pt x="349" y="288"/>
                  </a:lnTo>
                  <a:lnTo>
                    <a:pt x="349" y="288"/>
                  </a:lnTo>
                  <a:close/>
                  <a:moveTo>
                    <a:pt x="152" y="487"/>
                  </a:moveTo>
                  <a:lnTo>
                    <a:pt x="56" y="487"/>
                  </a:lnTo>
                  <a:lnTo>
                    <a:pt x="56" y="487"/>
                  </a:lnTo>
                  <a:lnTo>
                    <a:pt x="57" y="455"/>
                  </a:lnTo>
                  <a:lnTo>
                    <a:pt x="61" y="425"/>
                  </a:lnTo>
                  <a:lnTo>
                    <a:pt x="67" y="396"/>
                  </a:lnTo>
                  <a:lnTo>
                    <a:pt x="75" y="366"/>
                  </a:lnTo>
                  <a:lnTo>
                    <a:pt x="85" y="338"/>
                  </a:lnTo>
                  <a:lnTo>
                    <a:pt x="97" y="309"/>
                  </a:lnTo>
                  <a:lnTo>
                    <a:pt x="112" y="282"/>
                  </a:lnTo>
                  <a:lnTo>
                    <a:pt x="128" y="255"/>
                  </a:lnTo>
                  <a:lnTo>
                    <a:pt x="128" y="255"/>
                  </a:lnTo>
                  <a:lnTo>
                    <a:pt x="157" y="273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78" y="312"/>
                  </a:lnTo>
                  <a:lnTo>
                    <a:pt x="172" y="337"/>
                  </a:lnTo>
                  <a:lnTo>
                    <a:pt x="166" y="361"/>
                  </a:lnTo>
                  <a:lnTo>
                    <a:pt x="162" y="385"/>
                  </a:lnTo>
                  <a:lnTo>
                    <a:pt x="158" y="410"/>
                  </a:lnTo>
                  <a:lnTo>
                    <a:pt x="155" y="435"/>
                  </a:lnTo>
                  <a:lnTo>
                    <a:pt x="153" y="461"/>
                  </a:lnTo>
                  <a:lnTo>
                    <a:pt x="152" y="487"/>
                  </a:lnTo>
                  <a:lnTo>
                    <a:pt x="152" y="487"/>
                  </a:lnTo>
                  <a:close/>
                  <a:moveTo>
                    <a:pt x="154" y="542"/>
                  </a:moveTo>
                  <a:lnTo>
                    <a:pt x="154" y="542"/>
                  </a:lnTo>
                  <a:lnTo>
                    <a:pt x="157" y="564"/>
                  </a:lnTo>
                  <a:lnTo>
                    <a:pt x="159" y="585"/>
                  </a:lnTo>
                  <a:lnTo>
                    <a:pt x="161" y="607"/>
                  </a:lnTo>
                  <a:lnTo>
                    <a:pt x="165" y="627"/>
                  </a:lnTo>
                  <a:lnTo>
                    <a:pt x="169" y="648"/>
                  </a:lnTo>
                  <a:lnTo>
                    <a:pt x="174" y="669"/>
                  </a:lnTo>
                  <a:lnTo>
                    <a:pt x="179" y="690"/>
                  </a:lnTo>
                  <a:lnTo>
                    <a:pt x="185" y="710"/>
                  </a:lnTo>
                  <a:lnTo>
                    <a:pt x="185" y="710"/>
                  </a:lnTo>
                  <a:lnTo>
                    <a:pt x="157" y="725"/>
                  </a:lnTo>
                  <a:lnTo>
                    <a:pt x="128" y="743"/>
                  </a:lnTo>
                  <a:lnTo>
                    <a:pt x="128" y="743"/>
                  </a:lnTo>
                  <a:lnTo>
                    <a:pt x="114" y="720"/>
                  </a:lnTo>
                  <a:lnTo>
                    <a:pt x="101" y="695"/>
                  </a:lnTo>
                  <a:lnTo>
                    <a:pt x="90" y="671"/>
                  </a:lnTo>
                  <a:lnTo>
                    <a:pt x="80" y="647"/>
                  </a:lnTo>
                  <a:lnTo>
                    <a:pt x="72" y="621"/>
                  </a:lnTo>
                  <a:lnTo>
                    <a:pt x="66" y="596"/>
                  </a:lnTo>
                  <a:lnTo>
                    <a:pt x="61" y="569"/>
                  </a:lnTo>
                  <a:lnTo>
                    <a:pt x="58" y="542"/>
                  </a:lnTo>
                  <a:lnTo>
                    <a:pt x="154" y="542"/>
                  </a:lnTo>
                  <a:close/>
                  <a:moveTo>
                    <a:pt x="349" y="710"/>
                  </a:moveTo>
                  <a:lnTo>
                    <a:pt x="349" y="710"/>
                  </a:lnTo>
                  <a:lnTo>
                    <a:pt x="355" y="743"/>
                  </a:lnTo>
                  <a:lnTo>
                    <a:pt x="360" y="773"/>
                  </a:lnTo>
                  <a:lnTo>
                    <a:pt x="366" y="803"/>
                  </a:lnTo>
                  <a:lnTo>
                    <a:pt x="373" y="830"/>
                  </a:lnTo>
                  <a:lnTo>
                    <a:pt x="380" y="856"/>
                  </a:lnTo>
                  <a:lnTo>
                    <a:pt x="389" y="879"/>
                  </a:lnTo>
                  <a:lnTo>
                    <a:pt x="396" y="901"/>
                  </a:lnTo>
                  <a:lnTo>
                    <a:pt x="406" y="919"/>
                  </a:lnTo>
                  <a:lnTo>
                    <a:pt x="406" y="919"/>
                  </a:lnTo>
                  <a:lnTo>
                    <a:pt x="386" y="908"/>
                  </a:lnTo>
                  <a:lnTo>
                    <a:pt x="367" y="894"/>
                  </a:lnTo>
                  <a:lnTo>
                    <a:pt x="348" y="879"/>
                  </a:lnTo>
                  <a:lnTo>
                    <a:pt x="331" y="860"/>
                  </a:lnTo>
                  <a:lnTo>
                    <a:pt x="331" y="860"/>
                  </a:lnTo>
                  <a:lnTo>
                    <a:pt x="320" y="848"/>
                  </a:lnTo>
                  <a:lnTo>
                    <a:pt x="309" y="834"/>
                  </a:lnTo>
                  <a:lnTo>
                    <a:pt x="299" y="819"/>
                  </a:lnTo>
                  <a:lnTo>
                    <a:pt x="289" y="805"/>
                  </a:lnTo>
                  <a:lnTo>
                    <a:pt x="279" y="790"/>
                  </a:lnTo>
                  <a:lnTo>
                    <a:pt x="270" y="773"/>
                  </a:lnTo>
                  <a:lnTo>
                    <a:pt x="262" y="757"/>
                  </a:lnTo>
                  <a:lnTo>
                    <a:pt x="254" y="739"/>
                  </a:lnTo>
                  <a:lnTo>
                    <a:pt x="254" y="739"/>
                  </a:lnTo>
                  <a:lnTo>
                    <a:pt x="277" y="731"/>
                  </a:lnTo>
                  <a:lnTo>
                    <a:pt x="301" y="723"/>
                  </a:lnTo>
                  <a:lnTo>
                    <a:pt x="325" y="715"/>
                  </a:lnTo>
                  <a:lnTo>
                    <a:pt x="349" y="710"/>
                  </a:lnTo>
                  <a:lnTo>
                    <a:pt x="349" y="710"/>
                  </a:lnTo>
                  <a:close/>
                  <a:moveTo>
                    <a:pt x="647" y="710"/>
                  </a:moveTo>
                  <a:lnTo>
                    <a:pt x="647" y="710"/>
                  </a:lnTo>
                  <a:lnTo>
                    <a:pt x="672" y="715"/>
                  </a:lnTo>
                  <a:lnTo>
                    <a:pt x="696" y="723"/>
                  </a:lnTo>
                  <a:lnTo>
                    <a:pt x="719" y="731"/>
                  </a:lnTo>
                  <a:lnTo>
                    <a:pt x="742" y="739"/>
                  </a:lnTo>
                  <a:lnTo>
                    <a:pt x="742" y="739"/>
                  </a:lnTo>
                  <a:lnTo>
                    <a:pt x="735" y="757"/>
                  </a:lnTo>
                  <a:lnTo>
                    <a:pt x="726" y="773"/>
                  </a:lnTo>
                  <a:lnTo>
                    <a:pt x="717" y="790"/>
                  </a:lnTo>
                  <a:lnTo>
                    <a:pt x="707" y="805"/>
                  </a:lnTo>
                  <a:lnTo>
                    <a:pt x="699" y="819"/>
                  </a:lnTo>
                  <a:lnTo>
                    <a:pt x="688" y="834"/>
                  </a:lnTo>
                  <a:lnTo>
                    <a:pt x="677" y="848"/>
                  </a:lnTo>
                  <a:lnTo>
                    <a:pt x="666" y="860"/>
                  </a:lnTo>
                  <a:lnTo>
                    <a:pt x="666" y="860"/>
                  </a:lnTo>
                  <a:lnTo>
                    <a:pt x="648" y="879"/>
                  </a:lnTo>
                  <a:lnTo>
                    <a:pt x="630" y="894"/>
                  </a:lnTo>
                  <a:lnTo>
                    <a:pt x="611" y="908"/>
                  </a:lnTo>
                  <a:lnTo>
                    <a:pt x="590" y="919"/>
                  </a:lnTo>
                  <a:lnTo>
                    <a:pt x="590" y="919"/>
                  </a:lnTo>
                  <a:lnTo>
                    <a:pt x="600" y="901"/>
                  </a:lnTo>
                  <a:lnTo>
                    <a:pt x="609" y="879"/>
                  </a:lnTo>
                  <a:lnTo>
                    <a:pt x="616" y="856"/>
                  </a:lnTo>
                  <a:lnTo>
                    <a:pt x="624" y="829"/>
                  </a:lnTo>
                  <a:lnTo>
                    <a:pt x="631" y="803"/>
                  </a:lnTo>
                  <a:lnTo>
                    <a:pt x="636" y="773"/>
                  </a:lnTo>
                  <a:lnTo>
                    <a:pt x="642" y="743"/>
                  </a:lnTo>
                  <a:lnTo>
                    <a:pt x="647" y="710"/>
                  </a:lnTo>
                  <a:lnTo>
                    <a:pt x="647" y="710"/>
                  </a:lnTo>
                  <a:close/>
                  <a:moveTo>
                    <a:pt x="842" y="542"/>
                  </a:moveTo>
                  <a:lnTo>
                    <a:pt x="938" y="542"/>
                  </a:lnTo>
                  <a:lnTo>
                    <a:pt x="938" y="542"/>
                  </a:lnTo>
                  <a:lnTo>
                    <a:pt x="935" y="569"/>
                  </a:lnTo>
                  <a:lnTo>
                    <a:pt x="931" y="596"/>
                  </a:lnTo>
                  <a:lnTo>
                    <a:pt x="924" y="622"/>
                  </a:lnTo>
                  <a:lnTo>
                    <a:pt x="917" y="647"/>
                  </a:lnTo>
                  <a:lnTo>
                    <a:pt x="907" y="671"/>
                  </a:lnTo>
                  <a:lnTo>
                    <a:pt x="896" y="695"/>
                  </a:lnTo>
                  <a:lnTo>
                    <a:pt x="883" y="720"/>
                  </a:lnTo>
                  <a:lnTo>
                    <a:pt x="868" y="743"/>
                  </a:lnTo>
                  <a:lnTo>
                    <a:pt x="868" y="743"/>
                  </a:lnTo>
                  <a:lnTo>
                    <a:pt x="841" y="725"/>
                  </a:lnTo>
                  <a:lnTo>
                    <a:pt x="811" y="710"/>
                  </a:lnTo>
                  <a:lnTo>
                    <a:pt x="811" y="710"/>
                  </a:lnTo>
                  <a:lnTo>
                    <a:pt x="817" y="690"/>
                  </a:lnTo>
                  <a:lnTo>
                    <a:pt x="822" y="669"/>
                  </a:lnTo>
                  <a:lnTo>
                    <a:pt x="828" y="648"/>
                  </a:lnTo>
                  <a:lnTo>
                    <a:pt x="832" y="627"/>
                  </a:lnTo>
                  <a:lnTo>
                    <a:pt x="835" y="607"/>
                  </a:lnTo>
                  <a:lnTo>
                    <a:pt x="838" y="585"/>
                  </a:lnTo>
                  <a:lnTo>
                    <a:pt x="841" y="564"/>
                  </a:lnTo>
                  <a:lnTo>
                    <a:pt x="842" y="542"/>
                  </a:lnTo>
                  <a:lnTo>
                    <a:pt x="842" y="542"/>
                  </a:lnTo>
                  <a:close/>
                  <a:moveTo>
                    <a:pt x="811" y="288"/>
                  </a:moveTo>
                  <a:lnTo>
                    <a:pt x="811" y="288"/>
                  </a:lnTo>
                  <a:lnTo>
                    <a:pt x="841" y="273"/>
                  </a:lnTo>
                  <a:lnTo>
                    <a:pt x="868" y="255"/>
                  </a:lnTo>
                  <a:lnTo>
                    <a:pt x="868" y="255"/>
                  </a:lnTo>
                  <a:lnTo>
                    <a:pt x="885" y="282"/>
                  </a:lnTo>
                  <a:lnTo>
                    <a:pt x="899" y="309"/>
                  </a:lnTo>
                  <a:lnTo>
                    <a:pt x="911" y="338"/>
                  </a:lnTo>
                  <a:lnTo>
                    <a:pt x="922" y="366"/>
                  </a:lnTo>
                  <a:lnTo>
                    <a:pt x="930" y="396"/>
                  </a:lnTo>
                  <a:lnTo>
                    <a:pt x="935" y="425"/>
                  </a:lnTo>
                  <a:lnTo>
                    <a:pt x="940" y="455"/>
                  </a:lnTo>
                  <a:lnTo>
                    <a:pt x="942" y="487"/>
                  </a:lnTo>
                  <a:lnTo>
                    <a:pt x="844" y="487"/>
                  </a:lnTo>
                  <a:lnTo>
                    <a:pt x="844" y="487"/>
                  </a:lnTo>
                  <a:lnTo>
                    <a:pt x="843" y="461"/>
                  </a:lnTo>
                  <a:lnTo>
                    <a:pt x="842" y="435"/>
                  </a:lnTo>
                  <a:lnTo>
                    <a:pt x="839" y="410"/>
                  </a:lnTo>
                  <a:lnTo>
                    <a:pt x="835" y="385"/>
                  </a:lnTo>
                  <a:lnTo>
                    <a:pt x="830" y="361"/>
                  </a:lnTo>
                  <a:lnTo>
                    <a:pt x="825" y="337"/>
                  </a:lnTo>
                  <a:lnTo>
                    <a:pt x="819" y="312"/>
                  </a:lnTo>
                  <a:lnTo>
                    <a:pt x="811" y="288"/>
                  </a:lnTo>
                  <a:lnTo>
                    <a:pt x="811" y="288"/>
                  </a:lnTo>
                  <a:close/>
                  <a:moveTo>
                    <a:pt x="793" y="237"/>
                  </a:moveTo>
                  <a:lnTo>
                    <a:pt x="793" y="237"/>
                  </a:lnTo>
                  <a:lnTo>
                    <a:pt x="776" y="203"/>
                  </a:lnTo>
                  <a:lnTo>
                    <a:pt x="759" y="171"/>
                  </a:lnTo>
                  <a:lnTo>
                    <a:pt x="749" y="156"/>
                  </a:lnTo>
                  <a:lnTo>
                    <a:pt x="739" y="141"/>
                  </a:lnTo>
                  <a:lnTo>
                    <a:pt x="729" y="127"/>
                  </a:lnTo>
                  <a:lnTo>
                    <a:pt x="718" y="114"/>
                  </a:lnTo>
                  <a:lnTo>
                    <a:pt x="718" y="114"/>
                  </a:lnTo>
                  <a:lnTo>
                    <a:pt x="735" y="124"/>
                  </a:lnTo>
                  <a:lnTo>
                    <a:pt x="751" y="135"/>
                  </a:lnTo>
                  <a:lnTo>
                    <a:pt x="766" y="146"/>
                  </a:lnTo>
                  <a:lnTo>
                    <a:pt x="781" y="158"/>
                  </a:lnTo>
                  <a:lnTo>
                    <a:pt x="795" y="170"/>
                  </a:lnTo>
                  <a:lnTo>
                    <a:pt x="809" y="183"/>
                  </a:lnTo>
                  <a:lnTo>
                    <a:pt x="822" y="197"/>
                  </a:lnTo>
                  <a:lnTo>
                    <a:pt x="835" y="212"/>
                  </a:lnTo>
                  <a:lnTo>
                    <a:pt x="835" y="212"/>
                  </a:lnTo>
                  <a:lnTo>
                    <a:pt x="815" y="225"/>
                  </a:lnTo>
                  <a:lnTo>
                    <a:pt x="793" y="237"/>
                  </a:lnTo>
                  <a:lnTo>
                    <a:pt x="793" y="237"/>
                  </a:lnTo>
                  <a:close/>
                  <a:moveTo>
                    <a:pt x="595" y="297"/>
                  </a:moveTo>
                  <a:lnTo>
                    <a:pt x="595" y="297"/>
                  </a:lnTo>
                  <a:lnTo>
                    <a:pt x="570" y="300"/>
                  </a:lnTo>
                  <a:lnTo>
                    <a:pt x="546" y="303"/>
                  </a:lnTo>
                  <a:lnTo>
                    <a:pt x="522" y="304"/>
                  </a:lnTo>
                  <a:lnTo>
                    <a:pt x="498" y="304"/>
                  </a:lnTo>
                  <a:lnTo>
                    <a:pt x="474" y="304"/>
                  </a:lnTo>
                  <a:lnTo>
                    <a:pt x="450" y="303"/>
                  </a:lnTo>
                  <a:lnTo>
                    <a:pt x="426" y="300"/>
                  </a:lnTo>
                  <a:lnTo>
                    <a:pt x="402" y="297"/>
                  </a:lnTo>
                  <a:lnTo>
                    <a:pt x="402" y="297"/>
                  </a:lnTo>
                  <a:lnTo>
                    <a:pt x="411" y="246"/>
                  </a:lnTo>
                  <a:lnTo>
                    <a:pt x="415" y="221"/>
                  </a:lnTo>
                  <a:lnTo>
                    <a:pt x="420" y="198"/>
                  </a:lnTo>
                  <a:lnTo>
                    <a:pt x="426" y="178"/>
                  </a:lnTo>
                  <a:lnTo>
                    <a:pt x="432" y="157"/>
                  </a:lnTo>
                  <a:lnTo>
                    <a:pt x="439" y="138"/>
                  </a:lnTo>
                  <a:lnTo>
                    <a:pt x="446" y="120"/>
                  </a:lnTo>
                  <a:lnTo>
                    <a:pt x="446" y="120"/>
                  </a:lnTo>
                  <a:lnTo>
                    <a:pt x="454" y="102"/>
                  </a:lnTo>
                  <a:lnTo>
                    <a:pt x="463" y="86"/>
                  </a:lnTo>
                  <a:lnTo>
                    <a:pt x="471" y="74"/>
                  </a:lnTo>
                  <a:lnTo>
                    <a:pt x="478" y="67"/>
                  </a:lnTo>
                  <a:lnTo>
                    <a:pt x="484" y="60"/>
                  </a:lnTo>
                  <a:lnTo>
                    <a:pt x="489" y="57"/>
                  </a:lnTo>
                  <a:lnTo>
                    <a:pt x="495" y="56"/>
                  </a:lnTo>
                  <a:lnTo>
                    <a:pt x="498" y="55"/>
                  </a:lnTo>
                  <a:lnTo>
                    <a:pt x="498" y="55"/>
                  </a:lnTo>
                  <a:lnTo>
                    <a:pt x="503" y="56"/>
                  </a:lnTo>
                  <a:lnTo>
                    <a:pt x="507" y="57"/>
                  </a:lnTo>
                  <a:lnTo>
                    <a:pt x="512" y="60"/>
                  </a:lnTo>
                  <a:lnTo>
                    <a:pt x="519" y="67"/>
                  </a:lnTo>
                  <a:lnTo>
                    <a:pt x="526" y="74"/>
                  </a:lnTo>
                  <a:lnTo>
                    <a:pt x="533" y="86"/>
                  </a:lnTo>
                  <a:lnTo>
                    <a:pt x="542" y="102"/>
                  </a:lnTo>
                  <a:lnTo>
                    <a:pt x="551" y="120"/>
                  </a:lnTo>
                  <a:lnTo>
                    <a:pt x="551" y="120"/>
                  </a:lnTo>
                  <a:lnTo>
                    <a:pt x="557" y="138"/>
                  </a:lnTo>
                  <a:lnTo>
                    <a:pt x="564" y="157"/>
                  </a:lnTo>
                  <a:lnTo>
                    <a:pt x="570" y="178"/>
                  </a:lnTo>
                  <a:lnTo>
                    <a:pt x="576" y="198"/>
                  </a:lnTo>
                  <a:lnTo>
                    <a:pt x="581" y="221"/>
                  </a:lnTo>
                  <a:lnTo>
                    <a:pt x="586" y="246"/>
                  </a:lnTo>
                  <a:lnTo>
                    <a:pt x="595" y="297"/>
                  </a:lnTo>
                  <a:lnTo>
                    <a:pt x="595" y="297"/>
                  </a:lnTo>
                  <a:close/>
                  <a:moveTo>
                    <a:pt x="278" y="114"/>
                  </a:moveTo>
                  <a:lnTo>
                    <a:pt x="278" y="114"/>
                  </a:lnTo>
                  <a:lnTo>
                    <a:pt x="267" y="127"/>
                  </a:lnTo>
                  <a:lnTo>
                    <a:pt x="257" y="141"/>
                  </a:lnTo>
                  <a:lnTo>
                    <a:pt x="247" y="156"/>
                  </a:lnTo>
                  <a:lnTo>
                    <a:pt x="238" y="171"/>
                  </a:lnTo>
                  <a:lnTo>
                    <a:pt x="220" y="203"/>
                  </a:lnTo>
                  <a:lnTo>
                    <a:pt x="204" y="237"/>
                  </a:lnTo>
                  <a:lnTo>
                    <a:pt x="204" y="237"/>
                  </a:lnTo>
                  <a:lnTo>
                    <a:pt x="183" y="225"/>
                  </a:lnTo>
                  <a:lnTo>
                    <a:pt x="162" y="212"/>
                  </a:lnTo>
                  <a:lnTo>
                    <a:pt x="162" y="212"/>
                  </a:lnTo>
                  <a:lnTo>
                    <a:pt x="174" y="196"/>
                  </a:lnTo>
                  <a:lnTo>
                    <a:pt x="188" y="183"/>
                  </a:lnTo>
                  <a:lnTo>
                    <a:pt x="201" y="170"/>
                  </a:lnTo>
                  <a:lnTo>
                    <a:pt x="216" y="158"/>
                  </a:lnTo>
                  <a:lnTo>
                    <a:pt x="231" y="146"/>
                  </a:lnTo>
                  <a:lnTo>
                    <a:pt x="246" y="135"/>
                  </a:lnTo>
                  <a:lnTo>
                    <a:pt x="262" y="124"/>
                  </a:lnTo>
                  <a:lnTo>
                    <a:pt x="278" y="114"/>
                  </a:lnTo>
                  <a:lnTo>
                    <a:pt x="278" y="114"/>
                  </a:lnTo>
                  <a:close/>
                  <a:moveTo>
                    <a:pt x="204" y="761"/>
                  </a:moveTo>
                  <a:lnTo>
                    <a:pt x="204" y="761"/>
                  </a:lnTo>
                  <a:lnTo>
                    <a:pt x="220" y="795"/>
                  </a:lnTo>
                  <a:lnTo>
                    <a:pt x="238" y="827"/>
                  </a:lnTo>
                  <a:lnTo>
                    <a:pt x="247" y="842"/>
                  </a:lnTo>
                  <a:lnTo>
                    <a:pt x="257" y="857"/>
                  </a:lnTo>
                  <a:lnTo>
                    <a:pt x="267" y="870"/>
                  </a:lnTo>
                  <a:lnTo>
                    <a:pt x="278" y="883"/>
                  </a:lnTo>
                  <a:lnTo>
                    <a:pt x="278" y="883"/>
                  </a:lnTo>
                  <a:lnTo>
                    <a:pt x="262" y="874"/>
                  </a:lnTo>
                  <a:lnTo>
                    <a:pt x="246" y="863"/>
                  </a:lnTo>
                  <a:lnTo>
                    <a:pt x="231" y="852"/>
                  </a:lnTo>
                  <a:lnTo>
                    <a:pt x="216" y="840"/>
                  </a:lnTo>
                  <a:lnTo>
                    <a:pt x="201" y="828"/>
                  </a:lnTo>
                  <a:lnTo>
                    <a:pt x="188" y="815"/>
                  </a:lnTo>
                  <a:lnTo>
                    <a:pt x="174" y="801"/>
                  </a:lnTo>
                  <a:lnTo>
                    <a:pt x="162" y="786"/>
                  </a:lnTo>
                  <a:lnTo>
                    <a:pt x="162" y="786"/>
                  </a:lnTo>
                  <a:lnTo>
                    <a:pt x="183" y="773"/>
                  </a:lnTo>
                  <a:lnTo>
                    <a:pt x="204" y="761"/>
                  </a:lnTo>
                  <a:lnTo>
                    <a:pt x="204" y="761"/>
                  </a:lnTo>
                  <a:close/>
                  <a:moveTo>
                    <a:pt x="402" y="701"/>
                  </a:moveTo>
                  <a:lnTo>
                    <a:pt x="402" y="701"/>
                  </a:lnTo>
                  <a:lnTo>
                    <a:pt x="427" y="698"/>
                  </a:lnTo>
                  <a:lnTo>
                    <a:pt x="451" y="695"/>
                  </a:lnTo>
                  <a:lnTo>
                    <a:pt x="474" y="694"/>
                  </a:lnTo>
                  <a:lnTo>
                    <a:pt x="498" y="693"/>
                  </a:lnTo>
                  <a:lnTo>
                    <a:pt x="522" y="694"/>
                  </a:lnTo>
                  <a:lnTo>
                    <a:pt x="546" y="695"/>
                  </a:lnTo>
                  <a:lnTo>
                    <a:pt x="570" y="698"/>
                  </a:lnTo>
                  <a:lnTo>
                    <a:pt x="595" y="701"/>
                  </a:lnTo>
                  <a:lnTo>
                    <a:pt x="595" y="701"/>
                  </a:lnTo>
                  <a:lnTo>
                    <a:pt x="586" y="752"/>
                  </a:lnTo>
                  <a:lnTo>
                    <a:pt x="581" y="777"/>
                  </a:lnTo>
                  <a:lnTo>
                    <a:pt x="576" y="800"/>
                  </a:lnTo>
                  <a:lnTo>
                    <a:pt x="570" y="820"/>
                  </a:lnTo>
                  <a:lnTo>
                    <a:pt x="564" y="840"/>
                  </a:lnTo>
                  <a:lnTo>
                    <a:pt x="557" y="860"/>
                  </a:lnTo>
                  <a:lnTo>
                    <a:pt x="551" y="878"/>
                  </a:lnTo>
                  <a:lnTo>
                    <a:pt x="551" y="878"/>
                  </a:lnTo>
                  <a:lnTo>
                    <a:pt x="542" y="896"/>
                  </a:lnTo>
                  <a:lnTo>
                    <a:pt x="533" y="912"/>
                  </a:lnTo>
                  <a:lnTo>
                    <a:pt x="526" y="923"/>
                  </a:lnTo>
                  <a:lnTo>
                    <a:pt x="519" y="931"/>
                  </a:lnTo>
                  <a:lnTo>
                    <a:pt x="512" y="937"/>
                  </a:lnTo>
                  <a:lnTo>
                    <a:pt x="507" y="941"/>
                  </a:lnTo>
                  <a:lnTo>
                    <a:pt x="503" y="942"/>
                  </a:lnTo>
                  <a:lnTo>
                    <a:pt x="498" y="943"/>
                  </a:lnTo>
                  <a:lnTo>
                    <a:pt x="498" y="943"/>
                  </a:lnTo>
                  <a:lnTo>
                    <a:pt x="495" y="942"/>
                  </a:lnTo>
                  <a:lnTo>
                    <a:pt x="489" y="941"/>
                  </a:lnTo>
                  <a:lnTo>
                    <a:pt x="484" y="937"/>
                  </a:lnTo>
                  <a:lnTo>
                    <a:pt x="478" y="931"/>
                  </a:lnTo>
                  <a:lnTo>
                    <a:pt x="471" y="923"/>
                  </a:lnTo>
                  <a:lnTo>
                    <a:pt x="463" y="912"/>
                  </a:lnTo>
                  <a:lnTo>
                    <a:pt x="454" y="896"/>
                  </a:lnTo>
                  <a:lnTo>
                    <a:pt x="446" y="878"/>
                  </a:lnTo>
                  <a:lnTo>
                    <a:pt x="446" y="878"/>
                  </a:lnTo>
                  <a:lnTo>
                    <a:pt x="439" y="860"/>
                  </a:lnTo>
                  <a:lnTo>
                    <a:pt x="432" y="840"/>
                  </a:lnTo>
                  <a:lnTo>
                    <a:pt x="426" y="820"/>
                  </a:lnTo>
                  <a:lnTo>
                    <a:pt x="420" y="799"/>
                  </a:lnTo>
                  <a:lnTo>
                    <a:pt x="415" y="777"/>
                  </a:lnTo>
                  <a:lnTo>
                    <a:pt x="411" y="752"/>
                  </a:lnTo>
                  <a:lnTo>
                    <a:pt x="402" y="701"/>
                  </a:lnTo>
                  <a:lnTo>
                    <a:pt x="402" y="701"/>
                  </a:lnTo>
                  <a:close/>
                  <a:moveTo>
                    <a:pt x="718" y="883"/>
                  </a:moveTo>
                  <a:lnTo>
                    <a:pt x="718" y="883"/>
                  </a:lnTo>
                  <a:lnTo>
                    <a:pt x="729" y="870"/>
                  </a:lnTo>
                  <a:lnTo>
                    <a:pt x="739" y="857"/>
                  </a:lnTo>
                  <a:lnTo>
                    <a:pt x="749" y="842"/>
                  </a:lnTo>
                  <a:lnTo>
                    <a:pt x="759" y="827"/>
                  </a:lnTo>
                  <a:lnTo>
                    <a:pt x="776" y="795"/>
                  </a:lnTo>
                  <a:lnTo>
                    <a:pt x="793" y="761"/>
                  </a:lnTo>
                  <a:lnTo>
                    <a:pt x="793" y="761"/>
                  </a:lnTo>
                  <a:lnTo>
                    <a:pt x="815" y="773"/>
                  </a:lnTo>
                  <a:lnTo>
                    <a:pt x="835" y="786"/>
                  </a:lnTo>
                  <a:lnTo>
                    <a:pt x="835" y="786"/>
                  </a:lnTo>
                  <a:lnTo>
                    <a:pt x="822" y="801"/>
                  </a:lnTo>
                  <a:lnTo>
                    <a:pt x="809" y="815"/>
                  </a:lnTo>
                  <a:lnTo>
                    <a:pt x="795" y="828"/>
                  </a:lnTo>
                  <a:lnTo>
                    <a:pt x="781" y="840"/>
                  </a:lnTo>
                  <a:lnTo>
                    <a:pt x="766" y="852"/>
                  </a:lnTo>
                  <a:lnTo>
                    <a:pt x="751" y="863"/>
                  </a:lnTo>
                  <a:lnTo>
                    <a:pt x="735" y="874"/>
                  </a:lnTo>
                  <a:lnTo>
                    <a:pt x="718" y="883"/>
                  </a:lnTo>
                  <a:lnTo>
                    <a:pt x="718" y="88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sz="1584" dirty="0"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448024" y="5440546"/>
            <a:ext cx="1289987" cy="153825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1300"/>
              </a:lnSpc>
              <a:spcAft>
                <a:spcPts val="300"/>
              </a:spcAft>
            </a:pPr>
            <a:r>
              <a:rPr lang="en-US" sz="85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rainingcentre@tahaluf.a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214974" y="5400526"/>
            <a:ext cx="218515" cy="218976"/>
            <a:chOff x="3347872" y="2987694"/>
            <a:chExt cx="613185" cy="614480"/>
          </a:xfrm>
          <a:solidFill>
            <a:schemeClr val="accent1"/>
          </a:solidFill>
        </p:grpSpPr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3347872" y="2987694"/>
              <a:ext cx="613185" cy="614480"/>
            </a:xfrm>
            <a:custGeom>
              <a:avLst/>
              <a:gdLst/>
              <a:ahLst/>
              <a:cxnLst>
                <a:cxn ang="0">
                  <a:pos x="1882" y="1091"/>
                </a:cxn>
                <a:cxn ang="0">
                  <a:pos x="1822" y="1311"/>
                </a:cxn>
                <a:cxn ang="0">
                  <a:pos x="1708" y="1509"/>
                </a:cxn>
                <a:cxn ang="0">
                  <a:pos x="1579" y="1651"/>
                </a:cxn>
                <a:cxn ang="0">
                  <a:pos x="1389" y="1787"/>
                </a:cxn>
                <a:cxn ang="0">
                  <a:pos x="1178" y="1869"/>
                </a:cxn>
                <a:cxn ang="0">
                  <a:pos x="946" y="1896"/>
                </a:cxn>
                <a:cxn ang="0">
                  <a:pos x="757" y="1878"/>
                </a:cxn>
                <a:cxn ang="0">
                  <a:pos x="542" y="1808"/>
                </a:cxn>
                <a:cxn ang="0">
                  <a:pos x="348" y="1683"/>
                </a:cxn>
                <a:cxn ang="0">
                  <a:pos x="212" y="1546"/>
                </a:cxn>
                <a:cxn ang="0">
                  <a:pos x="87" y="1352"/>
                </a:cxn>
                <a:cxn ang="0">
                  <a:pos x="16" y="1137"/>
                </a:cxn>
                <a:cxn ang="0">
                  <a:pos x="0" y="948"/>
                </a:cxn>
                <a:cxn ang="0">
                  <a:pos x="26" y="714"/>
                </a:cxn>
                <a:cxn ang="0">
                  <a:pos x="108" y="504"/>
                </a:cxn>
                <a:cxn ang="0">
                  <a:pos x="244" y="314"/>
                </a:cxn>
                <a:cxn ang="0">
                  <a:pos x="385" y="183"/>
                </a:cxn>
                <a:cxn ang="0">
                  <a:pos x="583" y="69"/>
                </a:cxn>
                <a:cxn ang="0">
                  <a:pos x="803" y="10"/>
                </a:cxn>
                <a:cxn ang="0">
                  <a:pos x="994" y="1"/>
                </a:cxn>
                <a:cxn ang="0">
                  <a:pos x="1222" y="40"/>
                </a:cxn>
                <a:cxn ang="0">
                  <a:pos x="1429" y="132"/>
                </a:cxn>
                <a:cxn ang="0">
                  <a:pos x="1614" y="279"/>
                </a:cxn>
                <a:cxn ang="0">
                  <a:pos x="1735" y="425"/>
                </a:cxn>
                <a:cxn ang="0">
                  <a:pos x="1838" y="628"/>
                </a:cxn>
                <a:cxn ang="0">
                  <a:pos x="1888" y="851"/>
                </a:cxn>
                <a:cxn ang="0">
                  <a:pos x="1825" y="948"/>
                </a:cxn>
                <a:cxn ang="0">
                  <a:pos x="1800" y="730"/>
                </a:cxn>
                <a:cxn ang="0">
                  <a:pos x="1724" y="533"/>
                </a:cxn>
                <a:cxn ang="0">
                  <a:pos x="1599" y="358"/>
                </a:cxn>
                <a:cxn ang="0">
                  <a:pos x="1467" y="237"/>
                </a:cxn>
                <a:cxn ang="0">
                  <a:pos x="1283" y="131"/>
                </a:cxn>
                <a:cxn ang="0">
                  <a:pos x="1078" y="76"/>
                </a:cxn>
                <a:cxn ang="0">
                  <a:pos x="900" y="67"/>
                </a:cxn>
                <a:cxn ang="0">
                  <a:pos x="687" y="102"/>
                </a:cxn>
                <a:cxn ang="0">
                  <a:pos x="495" y="189"/>
                </a:cxn>
                <a:cxn ang="0">
                  <a:pos x="323" y="325"/>
                </a:cxn>
                <a:cxn ang="0">
                  <a:pos x="210" y="460"/>
                </a:cxn>
                <a:cxn ang="0">
                  <a:pos x="115" y="648"/>
                </a:cxn>
                <a:cxn ang="0">
                  <a:pos x="70" y="858"/>
                </a:cxn>
                <a:cxn ang="0">
                  <a:pos x="70" y="1038"/>
                </a:cxn>
                <a:cxn ang="0">
                  <a:pos x="115" y="1246"/>
                </a:cxn>
                <a:cxn ang="0">
                  <a:pos x="210" y="1435"/>
                </a:cxn>
                <a:cxn ang="0">
                  <a:pos x="323" y="1571"/>
                </a:cxn>
                <a:cxn ang="0">
                  <a:pos x="495" y="1707"/>
                </a:cxn>
                <a:cxn ang="0">
                  <a:pos x="687" y="1793"/>
                </a:cxn>
                <a:cxn ang="0">
                  <a:pos x="900" y="1828"/>
                </a:cxn>
                <a:cxn ang="0">
                  <a:pos x="1078" y="1820"/>
                </a:cxn>
                <a:cxn ang="0">
                  <a:pos x="1283" y="1765"/>
                </a:cxn>
                <a:cxn ang="0">
                  <a:pos x="1467" y="1659"/>
                </a:cxn>
                <a:cxn ang="0">
                  <a:pos x="1599" y="1538"/>
                </a:cxn>
                <a:cxn ang="0">
                  <a:pos x="1724" y="1363"/>
                </a:cxn>
                <a:cxn ang="0">
                  <a:pos x="1800" y="1165"/>
                </a:cxn>
                <a:cxn ang="0">
                  <a:pos x="1825" y="948"/>
                </a:cxn>
              </a:cxnLst>
              <a:rect l="0" t="0" r="r" b="b"/>
              <a:pathLst>
                <a:path w="1892" h="1896">
                  <a:moveTo>
                    <a:pt x="1892" y="948"/>
                  </a:moveTo>
                  <a:lnTo>
                    <a:pt x="1892" y="948"/>
                  </a:lnTo>
                  <a:lnTo>
                    <a:pt x="1891" y="996"/>
                  </a:lnTo>
                  <a:lnTo>
                    <a:pt x="1888" y="1043"/>
                  </a:lnTo>
                  <a:lnTo>
                    <a:pt x="1882" y="1091"/>
                  </a:lnTo>
                  <a:lnTo>
                    <a:pt x="1874" y="1137"/>
                  </a:lnTo>
                  <a:lnTo>
                    <a:pt x="1865" y="1182"/>
                  </a:lnTo>
                  <a:lnTo>
                    <a:pt x="1853" y="1226"/>
                  </a:lnTo>
                  <a:lnTo>
                    <a:pt x="1838" y="1268"/>
                  </a:lnTo>
                  <a:lnTo>
                    <a:pt x="1822" y="1311"/>
                  </a:lnTo>
                  <a:lnTo>
                    <a:pt x="1803" y="1352"/>
                  </a:lnTo>
                  <a:lnTo>
                    <a:pt x="1782" y="1392"/>
                  </a:lnTo>
                  <a:lnTo>
                    <a:pt x="1761" y="1432"/>
                  </a:lnTo>
                  <a:lnTo>
                    <a:pt x="1735" y="1471"/>
                  </a:lnTo>
                  <a:lnTo>
                    <a:pt x="1708" y="1509"/>
                  </a:lnTo>
                  <a:lnTo>
                    <a:pt x="1678" y="1546"/>
                  </a:lnTo>
                  <a:lnTo>
                    <a:pt x="1648" y="1582"/>
                  </a:lnTo>
                  <a:lnTo>
                    <a:pt x="1614" y="1617"/>
                  </a:lnTo>
                  <a:lnTo>
                    <a:pt x="1614" y="1617"/>
                  </a:lnTo>
                  <a:lnTo>
                    <a:pt x="1579" y="1651"/>
                  </a:lnTo>
                  <a:lnTo>
                    <a:pt x="1543" y="1683"/>
                  </a:lnTo>
                  <a:lnTo>
                    <a:pt x="1505" y="1712"/>
                  </a:lnTo>
                  <a:lnTo>
                    <a:pt x="1467" y="1739"/>
                  </a:lnTo>
                  <a:lnTo>
                    <a:pt x="1429" y="1764"/>
                  </a:lnTo>
                  <a:lnTo>
                    <a:pt x="1389" y="1787"/>
                  </a:lnTo>
                  <a:lnTo>
                    <a:pt x="1349" y="1808"/>
                  </a:lnTo>
                  <a:lnTo>
                    <a:pt x="1307" y="1826"/>
                  </a:lnTo>
                  <a:lnTo>
                    <a:pt x="1266" y="1842"/>
                  </a:lnTo>
                  <a:lnTo>
                    <a:pt x="1222" y="1857"/>
                  </a:lnTo>
                  <a:lnTo>
                    <a:pt x="1178" y="1869"/>
                  </a:lnTo>
                  <a:lnTo>
                    <a:pt x="1133" y="1878"/>
                  </a:lnTo>
                  <a:lnTo>
                    <a:pt x="1088" y="1886"/>
                  </a:lnTo>
                  <a:lnTo>
                    <a:pt x="1041" y="1892"/>
                  </a:lnTo>
                  <a:lnTo>
                    <a:pt x="994" y="1895"/>
                  </a:lnTo>
                  <a:lnTo>
                    <a:pt x="946" y="1896"/>
                  </a:lnTo>
                  <a:lnTo>
                    <a:pt x="946" y="1896"/>
                  </a:lnTo>
                  <a:lnTo>
                    <a:pt x="897" y="1895"/>
                  </a:lnTo>
                  <a:lnTo>
                    <a:pt x="849" y="1892"/>
                  </a:lnTo>
                  <a:lnTo>
                    <a:pt x="803" y="1886"/>
                  </a:lnTo>
                  <a:lnTo>
                    <a:pt x="757" y="1878"/>
                  </a:lnTo>
                  <a:lnTo>
                    <a:pt x="713" y="1869"/>
                  </a:lnTo>
                  <a:lnTo>
                    <a:pt x="669" y="1857"/>
                  </a:lnTo>
                  <a:lnTo>
                    <a:pt x="625" y="1842"/>
                  </a:lnTo>
                  <a:lnTo>
                    <a:pt x="583" y="1826"/>
                  </a:lnTo>
                  <a:lnTo>
                    <a:pt x="542" y="1808"/>
                  </a:lnTo>
                  <a:lnTo>
                    <a:pt x="501" y="1787"/>
                  </a:lnTo>
                  <a:lnTo>
                    <a:pt x="462" y="1764"/>
                  </a:lnTo>
                  <a:lnTo>
                    <a:pt x="423" y="1739"/>
                  </a:lnTo>
                  <a:lnTo>
                    <a:pt x="385" y="1712"/>
                  </a:lnTo>
                  <a:lnTo>
                    <a:pt x="348" y="1683"/>
                  </a:lnTo>
                  <a:lnTo>
                    <a:pt x="313" y="1651"/>
                  </a:lnTo>
                  <a:lnTo>
                    <a:pt x="277" y="1617"/>
                  </a:lnTo>
                  <a:lnTo>
                    <a:pt x="277" y="1617"/>
                  </a:lnTo>
                  <a:lnTo>
                    <a:pt x="244" y="1582"/>
                  </a:lnTo>
                  <a:lnTo>
                    <a:pt x="212" y="1546"/>
                  </a:lnTo>
                  <a:lnTo>
                    <a:pt x="183" y="1509"/>
                  </a:lnTo>
                  <a:lnTo>
                    <a:pt x="155" y="1471"/>
                  </a:lnTo>
                  <a:lnTo>
                    <a:pt x="131" y="1432"/>
                  </a:lnTo>
                  <a:lnTo>
                    <a:pt x="108" y="1392"/>
                  </a:lnTo>
                  <a:lnTo>
                    <a:pt x="87" y="1352"/>
                  </a:lnTo>
                  <a:lnTo>
                    <a:pt x="69" y="1311"/>
                  </a:lnTo>
                  <a:lnTo>
                    <a:pt x="52" y="1268"/>
                  </a:lnTo>
                  <a:lnTo>
                    <a:pt x="38" y="1226"/>
                  </a:lnTo>
                  <a:lnTo>
                    <a:pt x="26" y="1182"/>
                  </a:lnTo>
                  <a:lnTo>
                    <a:pt x="16" y="1137"/>
                  </a:lnTo>
                  <a:lnTo>
                    <a:pt x="10" y="1091"/>
                  </a:lnTo>
                  <a:lnTo>
                    <a:pt x="4" y="1043"/>
                  </a:lnTo>
                  <a:lnTo>
                    <a:pt x="1" y="996"/>
                  </a:lnTo>
                  <a:lnTo>
                    <a:pt x="0" y="948"/>
                  </a:lnTo>
                  <a:lnTo>
                    <a:pt x="0" y="948"/>
                  </a:lnTo>
                  <a:lnTo>
                    <a:pt x="1" y="900"/>
                  </a:lnTo>
                  <a:lnTo>
                    <a:pt x="4" y="851"/>
                  </a:lnTo>
                  <a:lnTo>
                    <a:pt x="10" y="805"/>
                  </a:lnTo>
                  <a:lnTo>
                    <a:pt x="16" y="759"/>
                  </a:lnTo>
                  <a:lnTo>
                    <a:pt x="26" y="714"/>
                  </a:lnTo>
                  <a:lnTo>
                    <a:pt x="38" y="670"/>
                  </a:lnTo>
                  <a:lnTo>
                    <a:pt x="52" y="628"/>
                  </a:lnTo>
                  <a:lnTo>
                    <a:pt x="69" y="585"/>
                  </a:lnTo>
                  <a:lnTo>
                    <a:pt x="87" y="543"/>
                  </a:lnTo>
                  <a:lnTo>
                    <a:pt x="108" y="504"/>
                  </a:lnTo>
                  <a:lnTo>
                    <a:pt x="131" y="463"/>
                  </a:lnTo>
                  <a:lnTo>
                    <a:pt x="155" y="425"/>
                  </a:lnTo>
                  <a:lnTo>
                    <a:pt x="183" y="387"/>
                  </a:lnTo>
                  <a:lnTo>
                    <a:pt x="212" y="350"/>
                  </a:lnTo>
                  <a:lnTo>
                    <a:pt x="244" y="314"/>
                  </a:lnTo>
                  <a:lnTo>
                    <a:pt x="277" y="279"/>
                  </a:lnTo>
                  <a:lnTo>
                    <a:pt x="277" y="279"/>
                  </a:lnTo>
                  <a:lnTo>
                    <a:pt x="313" y="245"/>
                  </a:lnTo>
                  <a:lnTo>
                    <a:pt x="348" y="213"/>
                  </a:lnTo>
                  <a:lnTo>
                    <a:pt x="385" y="183"/>
                  </a:lnTo>
                  <a:lnTo>
                    <a:pt x="423" y="157"/>
                  </a:lnTo>
                  <a:lnTo>
                    <a:pt x="462" y="132"/>
                  </a:lnTo>
                  <a:lnTo>
                    <a:pt x="501" y="109"/>
                  </a:lnTo>
                  <a:lnTo>
                    <a:pt x="542" y="88"/>
                  </a:lnTo>
                  <a:lnTo>
                    <a:pt x="583" y="69"/>
                  </a:lnTo>
                  <a:lnTo>
                    <a:pt x="625" y="53"/>
                  </a:lnTo>
                  <a:lnTo>
                    <a:pt x="669" y="40"/>
                  </a:lnTo>
                  <a:lnTo>
                    <a:pt x="713" y="27"/>
                  </a:lnTo>
                  <a:lnTo>
                    <a:pt x="757" y="18"/>
                  </a:lnTo>
                  <a:lnTo>
                    <a:pt x="803" y="10"/>
                  </a:lnTo>
                  <a:lnTo>
                    <a:pt x="849" y="4"/>
                  </a:lnTo>
                  <a:lnTo>
                    <a:pt x="897" y="1"/>
                  </a:lnTo>
                  <a:lnTo>
                    <a:pt x="946" y="0"/>
                  </a:lnTo>
                  <a:lnTo>
                    <a:pt x="946" y="0"/>
                  </a:lnTo>
                  <a:lnTo>
                    <a:pt x="994" y="1"/>
                  </a:lnTo>
                  <a:lnTo>
                    <a:pt x="1041" y="4"/>
                  </a:lnTo>
                  <a:lnTo>
                    <a:pt x="1088" y="10"/>
                  </a:lnTo>
                  <a:lnTo>
                    <a:pt x="1133" y="18"/>
                  </a:lnTo>
                  <a:lnTo>
                    <a:pt x="1178" y="27"/>
                  </a:lnTo>
                  <a:lnTo>
                    <a:pt x="1222" y="40"/>
                  </a:lnTo>
                  <a:lnTo>
                    <a:pt x="1266" y="53"/>
                  </a:lnTo>
                  <a:lnTo>
                    <a:pt x="1307" y="69"/>
                  </a:lnTo>
                  <a:lnTo>
                    <a:pt x="1349" y="88"/>
                  </a:lnTo>
                  <a:lnTo>
                    <a:pt x="1389" y="109"/>
                  </a:lnTo>
                  <a:lnTo>
                    <a:pt x="1429" y="132"/>
                  </a:lnTo>
                  <a:lnTo>
                    <a:pt x="1467" y="157"/>
                  </a:lnTo>
                  <a:lnTo>
                    <a:pt x="1505" y="183"/>
                  </a:lnTo>
                  <a:lnTo>
                    <a:pt x="1543" y="213"/>
                  </a:lnTo>
                  <a:lnTo>
                    <a:pt x="1579" y="245"/>
                  </a:lnTo>
                  <a:lnTo>
                    <a:pt x="1614" y="279"/>
                  </a:lnTo>
                  <a:lnTo>
                    <a:pt x="1614" y="279"/>
                  </a:lnTo>
                  <a:lnTo>
                    <a:pt x="1648" y="314"/>
                  </a:lnTo>
                  <a:lnTo>
                    <a:pt x="1678" y="350"/>
                  </a:lnTo>
                  <a:lnTo>
                    <a:pt x="1708" y="387"/>
                  </a:lnTo>
                  <a:lnTo>
                    <a:pt x="1735" y="425"/>
                  </a:lnTo>
                  <a:lnTo>
                    <a:pt x="1761" y="463"/>
                  </a:lnTo>
                  <a:lnTo>
                    <a:pt x="1782" y="504"/>
                  </a:lnTo>
                  <a:lnTo>
                    <a:pt x="1803" y="543"/>
                  </a:lnTo>
                  <a:lnTo>
                    <a:pt x="1822" y="585"/>
                  </a:lnTo>
                  <a:lnTo>
                    <a:pt x="1838" y="628"/>
                  </a:lnTo>
                  <a:lnTo>
                    <a:pt x="1853" y="670"/>
                  </a:lnTo>
                  <a:lnTo>
                    <a:pt x="1865" y="714"/>
                  </a:lnTo>
                  <a:lnTo>
                    <a:pt x="1874" y="759"/>
                  </a:lnTo>
                  <a:lnTo>
                    <a:pt x="1882" y="805"/>
                  </a:lnTo>
                  <a:lnTo>
                    <a:pt x="1888" y="851"/>
                  </a:lnTo>
                  <a:lnTo>
                    <a:pt x="1891" y="900"/>
                  </a:lnTo>
                  <a:lnTo>
                    <a:pt x="1892" y="948"/>
                  </a:lnTo>
                  <a:lnTo>
                    <a:pt x="1892" y="948"/>
                  </a:lnTo>
                  <a:close/>
                  <a:moveTo>
                    <a:pt x="1825" y="948"/>
                  </a:moveTo>
                  <a:lnTo>
                    <a:pt x="1825" y="948"/>
                  </a:lnTo>
                  <a:lnTo>
                    <a:pt x="1824" y="903"/>
                  </a:lnTo>
                  <a:lnTo>
                    <a:pt x="1821" y="858"/>
                  </a:lnTo>
                  <a:lnTo>
                    <a:pt x="1816" y="815"/>
                  </a:lnTo>
                  <a:lnTo>
                    <a:pt x="1809" y="772"/>
                  </a:lnTo>
                  <a:lnTo>
                    <a:pt x="1800" y="730"/>
                  </a:lnTo>
                  <a:lnTo>
                    <a:pt x="1789" y="689"/>
                  </a:lnTo>
                  <a:lnTo>
                    <a:pt x="1776" y="648"/>
                  </a:lnTo>
                  <a:lnTo>
                    <a:pt x="1761" y="609"/>
                  </a:lnTo>
                  <a:lnTo>
                    <a:pt x="1744" y="571"/>
                  </a:lnTo>
                  <a:lnTo>
                    <a:pt x="1724" y="533"/>
                  </a:lnTo>
                  <a:lnTo>
                    <a:pt x="1704" y="496"/>
                  </a:lnTo>
                  <a:lnTo>
                    <a:pt x="1681" y="460"/>
                  </a:lnTo>
                  <a:lnTo>
                    <a:pt x="1655" y="425"/>
                  </a:lnTo>
                  <a:lnTo>
                    <a:pt x="1628" y="391"/>
                  </a:lnTo>
                  <a:lnTo>
                    <a:pt x="1599" y="358"/>
                  </a:lnTo>
                  <a:lnTo>
                    <a:pt x="1568" y="325"/>
                  </a:lnTo>
                  <a:lnTo>
                    <a:pt x="1568" y="325"/>
                  </a:lnTo>
                  <a:lnTo>
                    <a:pt x="1535" y="293"/>
                  </a:lnTo>
                  <a:lnTo>
                    <a:pt x="1501" y="264"/>
                  </a:lnTo>
                  <a:lnTo>
                    <a:pt x="1467" y="237"/>
                  </a:lnTo>
                  <a:lnTo>
                    <a:pt x="1432" y="212"/>
                  </a:lnTo>
                  <a:lnTo>
                    <a:pt x="1396" y="189"/>
                  </a:lnTo>
                  <a:lnTo>
                    <a:pt x="1360" y="167"/>
                  </a:lnTo>
                  <a:lnTo>
                    <a:pt x="1321" y="148"/>
                  </a:lnTo>
                  <a:lnTo>
                    <a:pt x="1283" y="131"/>
                  </a:lnTo>
                  <a:lnTo>
                    <a:pt x="1244" y="115"/>
                  </a:lnTo>
                  <a:lnTo>
                    <a:pt x="1204" y="102"/>
                  </a:lnTo>
                  <a:lnTo>
                    <a:pt x="1163" y="91"/>
                  </a:lnTo>
                  <a:lnTo>
                    <a:pt x="1121" y="82"/>
                  </a:lnTo>
                  <a:lnTo>
                    <a:pt x="1078" y="76"/>
                  </a:lnTo>
                  <a:lnTo>
                    <a:pt x="1035" y="70"/>
                  </a:lnTo>
                  <a:lnTo>
                    <a:pt x="991" y="67"/>
                  </a:lnTo>
                  <a:lnTo>
                    <a:pt x="946" y="66"/>
                  </a:lnTo>
                  <a:lnTo>
                    <a:pt x="946" y="66"/>
                  </a:lnTo>
                  <a:lnTo>
                    <a:pt x="900" y="67"/>
                  </a:lnTo>
                  <a:lnTo>
                    <a:pt x="856" y="70"/>
                  </a:lnTo>
                  <a:lnTo>
                    <a:pt x="812" y="76"/>
                  </a:lnTo>
                  <a:lnTo>
                    <a:pt x="770" y="82"/>
                  </a:lnTo>
                  <a:lnTo>
                    <a:pt x="728" y="91"/>
                  </a:lnTo>
                  <a:lnTo>
                    <a:pt x="687" y="102"/>
                  </a:lnTo>
                  <a:lnTo>
                    <a:pt x="647" y="115"/>
                  </a:lnTo>
                  <a:lnTo>
                    <a:pt x="607" y="131"/>
                  </a:lnTo>
                  <a:lnTo>
                    <a:pt x="569" y="148"/>
                  </a:lnTo>
                  <a:lnTo>
                    <a:pt x="532" y="167"/>
                  </a:lnTo>
                  <a:lnTo>
                    <a:pt x="495" y="189"/>
                  </a:lnTo>
                  <a:lnTo>
                    <a:pt x="459" y="212"/>
                  </a:lnTo>
                  <a:lnTo>
                    <a:pt x="423" y="237"/>
                  </a:lnTo>
                  <a:lnTo>
                    <a:pt x="390" y="264"/>
                  </a:lnTo>
                  <a:lnTo>
                    <a:pt x="356" y="293"/>
                  </a:lnTo>
                  <a:lnTo>
                    <a:pt x="323" y="325"/>
                  </a:lnTo>
                  <a:lnTo>
                    <a:pt x="323" y="325"/>
                  </a:lnTo>
                  <a:lnTo>
                    <a:pt x="292" y="358"/>
                  </a:lnTo>
                  <a:lnTo>
                    <a:pt x="262" y="391"/>
                  </a:lnTo>
                  <a:lnTo>
                    <a:pt x="235" y="425"/>
                  </a:lnTo>
                  <a:lnTo>
                    <a:pt x="210" y="460"/>
                  </a:lnTo>
                  <a:lnTo>
                    <a:pt x="187" y="496"/>
                  </a:lnTo>
                  <a:lnTo>
                    <a:pt x="166" y="533"/>
                  </a:lnTo>
                  <a:lnTo>
                    <a:pt x="147" y="571"/>
                  </a:lnTo>
                  <a:lnTo>
                    <a:pt x="130" y="609"/>
                  </a:lnTo>
                  <a:lnTo>
                    <a:pt x="115" y="648"/>
                  </a:lnTo>
                  <a:lnTo>
                    <a:pt x="101" y="689"/>
                  </a:lnTo>
                  <a:lnTo>
                    <a:pt x="91" y="730"/>
                  </a:lnTo>
                  <a:lnTo>
                    <a:pt x="82" y="772"/>
                  </a:lnTo>
                  <a:lnTo>
                    <a:pt x="74" y="815"/>
                  </a:lnTo>
                  <a:lnTo>
                    <a:pt x="70" y="858"/>
                  </a:lnTo>
                  <a:lnTo>
                    <a:pt x="66" y="903"/>
                  </a:lnTo>
                  <a:lnTo>
                    <a:pt x="65" y="948"/>
                  </a:lnTo>
                  <a:lnTo>
                    <a:pt x="65" y="948"/>
                  </a:lnTo>
                  <a:lnTo>
                    <a:pt x="66" y="993"/>
                  </a:lnTo>
                  <a:lnTo>
                    <a:pt x="70" y="1038"/>
                  </a:lnTo>
                  <a:lnTo>
                    <a:pt x="74" y="1081"/>
                  </a:lnTo>
                  <a:lnTo>
                    <a:pt x="82" y="1124"/>
                  </a:lnTo>
                  <a:lnTo>
                    <a:pt x="91" y="1165"/>
                  </a:lnTo>
                  <a:lnTo>
                    <a:pt x="101" y="1207"/>
                  </a:lnTo>
                  <a:lnTo>
                    <a:pt x="115" y="1246"/>
                  </a:lnTo>
                  <a:lnTo>
                    <a:pt x="130" y="1286"/>
                  </a:lnTo>
                  <a:lnTo>
                    <a:pt x="147" y="1324"/>
                  </a:lnTo>
                  <a:lnTo>
                    <a:pt x="166" y="1363"/>
                  </a:lnTo>
                  <a:lnTo>
                    <a:pt x="187" y="1399"/>
                  </a:lnTo>
                  <a:lnTo>
                    <a:pt x="210" y="1435"/>
                  </a:lnTo>
                  <a:lnTo>
                    <a:pt x="235" y="1470"/>
                  </a:lnTo>
                  <a:lnTo>
                    <a:pt x="262" y="1505"/>
                  </a:lnTo>
                  <a:lnTo>
                    <a:pt x="292" y="1538"/>
                  </a:lnTo>
                  <a:lnTo>
                    <a:pt x="323" y="1571"/>
                  </a:lnTo>
                  <a:lnTo>
                    <a:pt x="323" y="1571"/>
                  </a:lnTo>
                  <a:lnTo>
                    <a:pt x="356" y="1603"/>
                  </a:lnTo>
                  <a:lnTo>
                    <a:pt x="390" y="1632"/>
                  </a:lnTo>
                  <a:lnTo>
                    <a:pt x="423" y="1659"/>
                  </a:lnTo>
                  <a:lnTo>
                    <a:pt x="459" y="1684"/>
                  </a:lnTo>
                  <a:lnTo>
                    <a:pt x="495" y="1707"/>
                  </a:lnTo>
                  <a:lnTo>
                    <a:pt x="532" y="1728"/>
                  </a:lnTo>
                  <a:lnTo>
                    <a:pt x="569" y="1748"/>
                  </a:lnTo>
                  <a:lnTo>
                    <a:pt x="607" y="1765"/>
                  </a:lnTo>
                  <a:lnTo>
                    <a:pt x="647" y="1780"/>
                  </a:lnTo>
                  <a:lnTo>
                    <a:pt x="687" y="1793"/>
                  </a:lnTo>
                  <a:lnTo>
                    <a:pt x="728" y="1804"/>
                  </a:lnTo>
                  <a:lnTo>
                    <a:pt x="770" y="1814"/>
                  </a:lnTo>
                  <a:lnTo>
                    <a:pt x="812" y="1820"/>
                  </a:lnTo>
                  <a:lnTo>
                    <a:pt x="856" y="1826"/>
                  </a:lnTo>
                  <a:lnTo>
                    <a:pt x="900" y="1828"/>
                  </a:lnTo>
                  <a:lnTo>
                    <a:pt x="946" y="1829"/>
                  </a:lnTo>
                  <a:lnTo>
                    <a:pt x="946" y="1829"/>
                  </a:lnTo>
                  <a:lnTo>
                    <a:pt x="991" y="1828"/>
                  </a:lnTo>
                  <a:lnTo>
                    <a:pt x="1035" y="1826"/>
                  </a:lnTo>
                  <a:lnTo>
                    <a:pt x="1078" y="1820"/>
                  </a:lnTo>
                  <a:lnTo>
                    <a:pt x="1121" y="1814"/>
                  </a:lnTo>
                  <a:lnTo>
                    <a:pt x="1163" y="1804"/>
                  </a:lnTo>
                  <a:lnTo>
                    <a:pt x="1204" y="1793"/>
                  </a:lnTo>
                  <a:lnTo>
                    <a:pt x="1244" y="1780"/>
                  </a:lnTo>
                  <a:lnTo>
                    <a:pt x="1283" y="1765"/>
                  </a:lnTo>
                  <a:lnTo>
                    <a:pt x="1321" y="1748"/>
                  </a:lnTo>
                  <a:lnTo>
                    <a:pt x="1360" y="1728"/>
                  </a:lnTo>
                  <a:lnTo>
                    <a:pt x="1396" y="1707"/>
                  </a:lnTo>
                  <a:lnTo>
                    <a:pt x="1432" y="1684"/>
                  </a:lnTo>
                  <a:lnTo>
                    <a:pt x="1467" y="1659"/>
                  </a:lnTo>
                  <a:lnTo>
                    <a:pt x="1501" y="1632"/>
                  </a:lnTo>
                  <a:lnTo>
                    <a:pt x="1535" y="1603"/>
                  </a:lnTo>
                  <a:lnTo>
                    <a:pt x="1568" y="1571"/>
                  </a:lnTo>
                  <a:lnTo>
                    <a:pt x="1568" y="1571"/>
                  </a:lnTo>
                  <a:lnTo>
                    <a:pt x="1599" y="1538"/>
                  </a:lnTo>
                  <a:lnTo>
                    <a:pt x="1628" y="1505"/>
                  </a:lnTo>
                  <a:lnTo>
                    <a:pt x="1655" y="1470"/>
                  </a:lnTo>
                  <a:lnTo>
                    <a:pt x="1681" y="1435"/>
                  </a:lnTo>
                  <a:lnTo>
                    <a:pt x="1704" y="1399"/>
                  </a:lnTo>
                  <a:lnTo>
                    <a:pt x="1724" y="1363"/>
                  </a:lnTo>
                  <a:lnTo>
                    <a:pt x="1744" y="1324"/>
                  </a:lnTo>
                  <a:lnTo>
                    <a:pt x="1761" y="1286"/>
                  </a:lnTo>
                  <a:lnTo>
                    <a:pt x="1776" y="1246"/>
                  </a:lnTo>
                  <a:lnTo>
                    <a:pt x="1789" y="1207"/>
                  </a:lnTo>
                  <a:lnTo>
                    <a:pt x="1800" y="1165"/>
                  </a:lnTo>
                  <a:lnTo>
                    <a:pt x="1809" y="1124"/>
                  </a:lnTo>
                  <a:lnTo>
                    <a:pt x="1816" y="1081"/>
                  </a:lnTo>
                  <a:lnTo>
                    <a:pt x="1821" y="1038"/>
                  </a:lnTo>
                  <a:lnTo>
                    <a:pt x="1824" y="993"/>
                  </a:lnTo>
                  <a:lnTo>
                    <a:pt x="1825" y="948"/>
                  </a:lnTo>
                  <a:lnTo>
                    <a:pt x="1825" y="9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sz="1584" dirty="0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3489894" y="3118758"/>
              <a:ext cx="351320" cy="298167"/>
            </a:xfrm>
            <a:custGeom>
              <a:avLst/>
              <a:gdLst/>
              <a:ahLst/>
              <a:cxnLst>
                <a:cxn ang="0">
                  <a:pos x="579" y="14"/>
                </a:cxn>
                <a:cxn ang="0">
                  <a:pos x="571" y="9"/>
                </a:cxn>
                <a:cxn ang="0">
                  <a:pos x="553" y="1"/>
                </a:cxn>
                <a:cxn ang="0">
                  <a:pos x="532" y="1"/>
                </a:cxn>
                <a:cxn ang="0">
                  <a:pos x="513" y="9"/>
                </a:cxn>
                <a:cxn ang="0">
                  <a:pos x="12" y="312"/>
                </a:cxn>
                <a:cxn ang="0">
                  <a:pos x="6" y="317"/>
                </a:cxn>
                <a:cxn ang="0">
                  <a:pos x="1" y="329"/>
                </a:cxn>
                <a:cxn ang="0">
                  <a:pos x="0" y="864"/>
                </a:cxn>
                <a:cxn ang="0">
                  <a:pos x="1" y="875"/>
                </a:cxn>
                <a:cxn ang="0">
                  <a:pos x="10" y="894"/>
                </a:cxn>
                <a:cxn ang="0">
                  <a:pos x="16" y="902"/>
                </a:cxn>
                <a:cxn ang="0">
                  <a:pos x="35" y="915"/>
                </a:cxn>
                <a:cxn ang="0">
                  <a:pos x="56" y="920"/>
                </a:cxn>
                <a:cxn ang="0">
                  <a:pos x="1029" y="920"/>
                </a:cxn>
                <a:cxn ang="0">
                  <a:pos x="1050" y="915"/>
                </a:cxn>
                <a:cxn ang="0">
                  <a:pos x="1068" y="902"/>
                </a:cxn>
                <a:cxn ang="0">
                  <a:pos x="1075" y="894"/>
                </a:cxn>
                <a:cxn ang="0">
                  <a:pos x="1084" y="875"/>
                </a:cxn>
                <a:cxn ang="0">
                  <a:pos x="1085" y="334"/>
                </a:cxn>
                <a:cxn ang="0">
                  <a:pos x="1084" y="329"/>
                </a:cxn>
                <a:cxn ang="0">
                  <a:pos x="1078" y="317"/>
                </a:cxn>
                <a:cxn ang="0">
                  <a:pos x="1072" y="312"/>
                </a:cxn>
                <a:cxn ang="0">
                  <a:pos x="537" y="578"/>
                </a:cxn>
                <a:cxn ang="0">
                  <a:pos x="547" y="578"/>
                </a:cxn>
                <a:cxn ang="0">
                  <a:pos x="980" y="868"/>
                </a:cxn>
                <a:cxn ang="0">
                  <a:pos x="537" y="578"/>
                </a:cxn>
                <a:cxn ang="0">
                  <a:pos x="683" y="536"/>
                </a:cxn>
                <a:cxn ang="0">
                  <a:pos x="674" y="542"/>
                </a:cxn>
                <a:cxn ang="0">
                  <a:pos x="670" y="551"/>
                </a:cxn>
                <a:cxn ang="0">
                  <a:pos x="670" y="555"/>
                </a:cxn>
                <a:cxn ang="0">
                  <a:pos x="671" y="565"/>
                </a:cxn>
                <a:cxn ang="0">
                  <a:pos x="673" y="570"/>
                </a:cxn>
                <a:cxn ang="0">
                  <a:pos x="679" y="577"/>
                </a:cxn>
                <a:cxn ang="0">
                  <a:pos x="687" y="583"/>
                </a:cxn>
                <a:cxn ang="0">
                  <a:pos x="697" y="584"/>
                </a:cxn>
                <a:cxn ang="0">
                  <a:pos x="709" y="579"/>
                </a:cxn>
                <a:cxn ang="0">
                  <a:pos x="1033" y="839"/>
                </a:cxn>
                <a:cxn ang="0">
                  <a:pos x="580" y="538"/>
                </a:cxn>
                <a:cxn ang="0">
                  <a:pos x="564" y="529"/>
                </a:cxn>
                <a:cxn ang="0">
                  <a:pos x="543" y="527"/>
                </a:cxn>
                <a:cxn ang="0">
                  <a:pos x="531" y="527"/>
                </a:cxn>
                <a:cxn ang="0">
                  <a:pos x="513" y="532"/>
                </a:cxn>
                <a:cxn ang="0">
                  <a:pos x="51" y="839"/>
                </a:cxn>
                <a:cxn ang="0">
                  <a:pos x="376" y="581"/>
                </a:cxn>
                <a:cxn ang="0">
                  <a:pos x="382" y="583"/>
                </a:cxn>
                <a:cxn ang="0">
                  <a:pos x="392" y="584"/>
                </a:cxn>
                <a:cxn ang="0">
                  <a:pos x="402" y="581"/>
                </a:cxn>
                <a:cxn ang="0">
                  <a:pos x="409" y="574"/>
                </a:cxn>
                <a:cxn ang="0">
                  <a:pos x="411" y="571"/>
                </a:cxn>
                <a:cxn ang="0">
                  <a:pos x="415" y="560"/>
                </a:cxn>
                <a:cxn ang="0">
                  <a:pos x="415" y="551"/>
                </a:cxn>
                <a:cxn ang="0">
                  <a:pos x="410" y="542"/>
                </a:cxn>
                <a:cxn ang="0">
                  <a:pos x="402" y="536"/>
                </a:cxn>
                <a:cxn ang="0">
                  <a:pos x="534" y="57"/>
                </a:cxn>
                <a:cxn ang="0">
                  <a:pos x="540" y="57"/>
                </a:cxn>
                <a:cxn ang="0">
                  <a:pos x="546" y="57"/>
                </a:cxn>
                <a:cxn ang="0">
                  <a:pos x="1015" y="337"/>
                </a:cxn>
              </a:cxnLst>
              <a:rect l="0" t="0" r="r" b="b"/>
              <a:pathLst>
                <a:path w="1085" h="920">
                  <a:moveTo>
                    <a:pt x="1072" y="312"/>
                  </a:moveTo>
                  <a:lnTo>
                    <a:pt x="579" y="14"/>
                  </a:lnTo>
                  <a:lnTo>
                    <a:pt x="579" y="14"/>
                  </a:lnTo>
                  <a:lnTo>
                    <a:pt x="571" y="9"/>
                  </a:lnTo>
                  <a:lnTo>
                    <a:pt x="561" y="3"/>
                  </a:lnTo>
                  <a:lnTo>
                    <a:pt x="553" y="1"/>
                  </a:lnTo>
                  <a:lnTo>
                    <a:pt x="543" y="0"/>
                  </a:lnTo>
                  <a:lnTo>
                    <a:pt x="532" y="1"/>
                  </a:lnTo>
                  <a:lnTo>
                    <a:pt x="523" y="3"/>
                  </a:lnTo>
                  <a:lnTo>
                    <a:pt x="513" y="9"/>
                  </a:lnTo>
                  <a:lnTo>
                    <a:pt x="506" y="14"/>
                  </a:lnTo>
                  <a:lnTo>
                    <a:pt x="12" y="312"/>
                  </a:lnTo>
                  <a:lnTo>
                    <a:pt x="12" y="312"/>
                  </a:lnTo>
                  <a:lnTo>
                    <a:pt x="6" y="317"/>
                  </a:lnTo>
                  <a:lnTo>
                    <a:pt x="2" y="324"/>
                  </a:lnTo>
                  <a:lnTo>
                    <a:pt x="1" y="329"/>
                  </a:lnTo>
                  <a:lnTo>
                    <a:pt x="0" y="334"/>
                  </a:lnTo>
                  <a:lnTo>
                    <a:pt x="0" y="864"/>
                  </a:lnTo>
                  <a:lnTo>
                    <a:pt x="0" y="864"/>
                  </a:lnTo>
                  <a:lnTo>
                    <a:pt x="1" y="875"/>
                  </a:lnTo>
                  <a:lnTo>
                    <a:pt x="4" y="884"/>
                  </a:lnTo>
                  <a:lnTo>
                    <a:pt x="10" y="894"/>
                  </a:lnTo>
                  <a:lnTo>
                    <a:pt x="16" y="902"/>
                  </a:lnTo>
                  <a:lnTo>
                    <a:pt x="16" y="902"/>
                  </a:lnTo>
                  <a:lnTo>
                    <a:pt x="25" y="910"/>
                  </a:lnTo>
                  <a:lnTo>
                    <a:pt x="35" y="915"/>
                  </a:lnTo>
                  <a:lnTo>
                    <a:pt x="45" y="918"/>
                  </a:lnTo>
                  <a:lnTo>
                    <a:pt x="56" y="920"/>
                  </a:lnTo>
                  <a:lnTo>
                    <a:pt x="1029" y="920"/>
                  </a:lnTo>
                  <a:lnTo>
                    <a:pt x="1029" y="920"/>
                  </a:lnTo>
                  <a:lnTo>
                    <a:pt x="1040" y="918"/>
                  </a:lnTo>
                  <a:lnTo>
                    <a:pt x="1050" y="915"/>
                  </a:lnTo>
                  <a:lnTo>
                    <a:pt x="1060" y="910"/>
                  </a:lnTo>
                  <a:lnTo>
                    <a:pt x="1068" y="902"/>
                  </a:lnTo>
                  <a:lnTo>
                    <a:pt x="1068" y="902"/>
                  </a:lnTo>
                  <a:lnTo>
                    <a:pt x="1075" y="894"/>
                  </a:lnTo>
                  <a:lnTo>
                    <a:pt x="1081" y="884"/>
                  </a:lnTo>
                  <a:lnTo>
                    <a:pt x="1084" y="875"/>
                  </a:lnTo>
                  <a:lnTo>
                    <a:pt x="1085" y="864"/>
                  </a:lnTo>
                  <a:lnTo>
                    <a:pt x="1085" y="334"/>
                  </a:lnTo>
                  <a:lnTo>
                    <a:pt x="1085" y="334"/>
                  </a:lnTo>
                  <a:lnTo>
                    <a:pt x="1084" y="329"/>
                  </a:lnTo>
                  <a:lnTo>
                    <a:pt x="1083" y="324"/>
                  </a:lnTo>
                  <a:lnTo>
                    <a:pt x="1078" y="317"/>
                  </a:lnTo>
                  <a:lnTo>
                    <a:pt x="1072" y="312"/>
                  </a:lnTo>
                  <a:lnTo>
                    <a:pt x="1072" y="312"/>
                  </a:lnTo>
                  <a:close/>
                  <a:moveTo>
                    <a:pt x="537" y="578"/>
                  </a:moveTo>
                  <a:lnTo>
                    <a:pt x="537" y="578"/>
                  </a:lnTo>
                  <a:lnTo>
                    <a:pt x="543" y="578"/>
                  </a:lnTo>
                  <a:lnTo>
                    <a:pt x="547" y="578"/>
                  </a:lnTo>
                  <a:lnTo>
                    <a:pt x="549" y="579"/>
                  </a:lnTo>
                  <a:lnTo>
                    <a:pt x="980" y="868"/>
                  </a:lnTo>
                  <a:lnTo>
                    <a:pt x="104" y="868"/>
                  </a:lnTo>
                  <a:lnTo>
                    <a:pt x="537" y="578"/>
                  </a:lnTo>
                  <a:close/>
                  <a:moveTo>
                    <a:pt x="683" y="536"/>
                  </a:moveTo>
                  <a:lnTo>
                    <a:pt x="683" y="536"/>
                  </a:lnTo>
                  <a:lnTo>
                    <a:pt x="679" y="538"/>
                  </a:lnTo>
                  <a:lnTo>
                    <a:pt x="674" y="542"/>
                  </a:lnTo>
                  <a:lnTo>
                    <a:pt x="672" y="547"/>
                  </a:lnTo>
                  <a:lnTo>
                    <a:pt x="670" y="551"/>
                  </a:lnTo>
                  <a:lnTo>
                    <a:pt x="670" y="551"/>
                  </a:lnTo>
                  <a:lnTo>
                    <a:pt x="670" y="555"/>
                  </a:lnTo>
                  <a:lnTo>
                    <a:pt x="670" y="561"/>
                  </a:lnTo>
                  <a:lnTo>
                    <a:pt x="671" y="565"/>
                  </a:lnTo>
                  <a:lnTo>
                    <a:pt x="673" y="570"/>
                  </a:lnTo>
                  <a:lnTo>
                    <a:pt x="673" y="570"/>
                  </a:lnTo>
                  <a:lnTo>
                    <a:pt x="675" y="574"/>
                  </a:lnTo>
                  <a:lnTo>
                    <a:pt x="679" y="577"/>
                  </a:lnTo>
                  <a:lnTo>
                    <a:pt x="683" y="581"/>
                  </a:lnTo>
                  <a:lnTo>
                    <a:pt x="687" y="583"/>
                  </a:lnTo>
                  <a:lnTo>
                    <a:pt x="692" y="584"/>
                  </a:lnTo>
                  <a:lnTo>
                    <a:pt x="697" y="584"/>
                  </a:lnTo>
                  <a:lnTo>
                    <a:pt x="703" y="583"/>
                  </a:lnTo>
                  <a:lnTo>
                    <a:pt x="709" y="579"/>
                  </a:lnTo>
                  <a:lnTo>
                    <a:pt x="1033" y="386"/>
                  </a:lnTo>
                  <a:lnTo>
                    <a:pt x="1033" y="839"/>
                  </a:lnTo>
                  <a:lnTo>
                    <a:pt x="580" y="538"/>
                  </a:lnTo>
                  <a:lnTo>
                    <a:pt x="580" y="538"/>
                  </a:lnTo>
                  <a:lnTo>
                    <a:pt x="572" y="533"/>
                  </a:lnTo>
                  <a:lnTo>
                    <a:pt x="564" y="529"/>
                  </a:lnTo>
                  <a:lnTo>
                    <a:pt x="554" y="527"/>
                  </a:lnTo>
                  <a:lnTo>
                    <a:pt x="543" y="527"/>
                  </a:lnTo>
                  <a:lnTo>
                    <a:pt x="543" y="527"/>
                  </a:lnTo>
                  <a:lnTo>
                    <a:pt x="531" y="527"/>
                  </a:lnTo>
                  <a:lnTo>
                    <a:pt x="522" y="529"/>
                  </a:lnTo>
                  <a:lnTo>
                    <a:pt x="513" y="532"/>
                  </a:lnTo>
                  <a:lnTo>
                    <a:pt x="508" y="538"/>
                  </a:lnTo>
                  <a:lnTo>
                    <a:pt x="51" y="839"/>
                  </a:lnTo>
                  <a:lnTo>
                    <a:pt x="51" y="386"/>
                  </a:lnTo>
                  <a:lnTo>
                    <a:pt x="376" y="581"/>
                  </a:lnTo>
                  <a:lnTo>
                    <a:pt x="376" y="581"/>
                  </a:lnTo>
                  <a:lnTo>
                    <a:pt x="382" y="583"/>
                  </a:lnTo>
                  <a:lnTo>
                    <a:pt x="387" y="584"/>
                  </a:lnTo>
                  <a:lnTo>
                    <a:pt x="392" y="584"/>
                  </a:lnTo>
                  <a:lnTo>
                    <a:pt x="397" y="583"/>
                  </a:lnTo>
                  <a:lnTo>
                    <a:pt x="402" y="581"/>
                  </a:lnTo>
                  <a:lnTo>
                    <a:pt x="405" y="578"/>
                  </a:lnTo>
                  <a:lnTo>
                    <a:pt x="409" y="574"/>
                  </a:lnTo>
                  <a:lnTo>
                    <a:pt x="411" y="571"/>
                  </a:lnTo>
                  <a:lnTo>
                    <a:pt x="411" y="571"/>
                  </a:lnTo>
                  <a:lnTo>
                    <a:pt x="414" y="565"/>
                  </a:lnTo>
                  <a:lnTo>
                    <a:pt x="415" y="560"/>
                  </a:lnTo>
                  <a:lnTo>
                    <a:pt x="416" y="555"/>
                  </a:lnTo>
                  <a:lnTo>
                    <a:pt x="415" y="551"/>
                  </a:lnTo>
                  <a:lnTo>
                    <a:pt x="413" y="547"/>
                  </a:lnTo>
                  <a:lnTo>
                    <a:pt x="410" y="542"/>
                  </a:lnTo>
                  <a:lnTo>
                    <a:pt x="406" y="539"/>
                  </a:lnTo>
                  <a:lnTo>
                    <a:pt x="402" y="536"/>
                  </a:lnTo>
                  <a:lnTo>
                    <a:pt x="70" y="337"/>
                  </a:lnTo>
                  <a:lnTo>
                    <a:pt x="534" y="57"/>
                  </a:lnTo>
                  <a:lnTo>
                    <a:pt x="534" y="57"/>
                  </a:lnTo>
                  <a:lnTo>
                    <a:pt x="540" y="57"/>
                  </a:lnTo>
                  <a:lnTo>
                    <a:pt x="543" y="52"/>
                  </a:lnTo>
                  <a:lnTo>
                    <a:pt x="546" y="57"/>
                  </a:lnTo>
                  <a:lnTo>
                    <a:pt x="550" y="57"/>
                  </a:lnTo>
                  <a:lnTo>
                    <a:pt x="1015" y="337"/>
                  </a:lnTo>
                  <a:lnTo>
                    <a:pt x="683" y="5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sz="1584" dirty="0"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sp>
        <p:nvSpPr>
          <p:cNvPr id="26" name="Text Placeholder 7"/>
          <p:cNvSpPr txBox="1">
            <a:spLocks/>
          </p:cNvSpPr>
          <p:nvPr/>
        </p:nvSpPr>
        <p:spPr>
          <a:xfrm>
            <a:off x="571760" y="2373722"/>
            <a:ext cx="7387650" cy="130719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3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defTabSz="914372">
              <a:defRPr/>
            </a:pPr>
            <a:r>
              <a:rPr lang="ar-JO" sz="4800" b="1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شكراً لكم</a:t>
            </a:r>
            <a:endParaRPr lang="en-GB" sz="4800" b="1" dirty="0">
              <a:solidFill>
                <a:srgbClr val="FF0000"/>
              </a:solidFill>
              <a:latin typeface="Calibri" charset="0"/>
              <a:ea typeface="Calibri" charset="0"/>
              <a:cs typeface="Calibri" charset="0"/>
            </a:endParaRPr>
          </a:p>
          <a:p>
            <a:pPr defTabSz="914372">
              <a:defRPr/>
            </a:pPr>
            <a:r>
              <a:rPr lang="en-GB" sz="4800" b="1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Thank You</a:t>
            </a:r>
            <a:endParaRPr lang="en-US" sz="4800" b="1" dirty="0">
              <a:solidFill>
                <a:srgbClr val="FF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7726355" y="5421786"/>
            <a:ext cx="197716" cy="197716"/>
          </a:xfrm>
          <a:prstGeom prst="ellipse">
            <a:avLst/>
          </a:prstGeom>
          <a:noFill/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en-US" dirty="0"/>
          </a:p>
        </p:txBody>
      </p:sp>
      <p:cxnSp>
        <p:nvCxnSpPr>
          <p:cNvPr id="36" name="Straight Connector 35"/>
          <p:cNvCxnSpPr/>
          <p:nvPr/>
        </p:nvCxnSpPr>
        <p:spPr>
          <a:xfrm>
            <a:off x="5828976" y="5372179"/>
            <a:ext cx="0" cy="2775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6982019" y="5341911"/>
            <a:ext cx="0" cy="2775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omputer Hacking Forensic Investigator ...">
            <a:extLst>
              <a:ext uri="{FF2B5EF4-FFF2-40B4-BE49-F238E27FC236}">
                <a16:creationId xmlns:a16="http://schemas.microsoft.com/office/drawing/2014/main" id="{2CBD605A-3100-6CFD-B2D9-1ED8D051C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569" y="6048237"/>
            <a:ext cx="1210740" cy="761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omputer Hacking Forensic Investigator">
            <a:extLst>
              <a:ext uri="{FF2B5EF4-FFF2-40B4-BE49-F238E27FC236}">
                <a16:creationId xmlns:a16="http://schemas.microsoft.com/office/drawing/2014/main" id="{BFFD95F1-E201-4C05-73A1-B3AB349D6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891" y="440894"/>
            <a:ext cx="1666928" cy="166692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5190568"/>
      </p:ext>
    </p:extLst>
  </p:cSld>
  <p:clrMapOvr>
    <a:masterClrMapping/>
  </p:clrMapOvr>
  <p:transition spd="med" advClick="0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871B831-58E4-7749-C7EC-C4C5985BC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C0B1D-CE7D-EA05-DB10-85F37B3D7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Attribution Techniq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592FEE-4F6C-0D4A-F47D-CA143F7EF2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ensic Analysis Tool</a:t>
            </a:r>
          </a:p>
          <a:p>
            <a:r>
              <a:rPr lang="en-US" dirty="0"/>
              <a:t>Technical Indicators</a:t>
            </a:r>
          </a:p>
          <a:p>
            <a:r>
              <a:rPr lang="en-US" dirty="0"/>
              <a:t>Past Attacks</a:t>
            </a:r>
          </a:p>
          <a:p>
            <a:r>
              <a:rPr lang="en-US" dirty="0"/>
              <a:t>Attack Motiv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1E0F15-1499-7E79-B8A1-A2D63764A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6</a:t>
            </a:fld>
            <a:endParaRPr lang="en-US"/>
          </a:p>
        </p:txBody>
      </p:sp>
      <p:pic>
        <p:nvPicPr>
          <p:cNvPr id="2050" name="Picture 2" descr="International Arbitration ...">
            <a:extLst>
              <a:ext uri="{FF2B5EF4-FFF2-40B4-BE49-F238E27FC236}">
                <a16:creationId xmlns:a16="http://schemas.microsoft.com/office/drawing/2014/main" id="{242BFE83-9127-946D-B0B0-AE2F0BBC3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9035" y="2747910"/>
            <a:ext cx="2962275" cy="15430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2411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9F4D66B-2464-68C7-5C45-E4EE2A002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081DD-9518-8633-2765-A6E647423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Crime Investig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96F13-49CA-4CAB-5C3F-C032BCF936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ticulous Collection of Clues</a:t>
            </a:r>
          </a:p>
          <a:p>
            <a:r>
              <a:rPr lang="en-US" dirty="0"/>
              <a:t>Forensic Evidence</a:t>
            </a:r>
          </a:p>
          <a:p>
            <a:r>
              <a:rPr lang="en-US" dirty="0"/>
              <a:t>Electronic Device</a:t>
            </a:r>
          </a:p>
          <a:p>
            <a:r>
              <a:rPr lang="en-US" dirty="0"/>
              <a:t>Containing Valuable Evidence</a:t>
            </a:r>
          </a:p>
          <a:p>
            <a:r>
              <a:rPr lang="en-US" dirty="0"/>
              <a:t>Investigation</a:t>
            </a:r>
          </a:p>
          <a:p>
            <a:r>
              <a:rPr lang="en-US" dirty="0"/>
              <a:t>Civil Approach</a:t>
            </a:r>
          </a:p>
          <a:p>
            <a:r>
              <a:rPr lang="en-US" dirty="0"/>
              <a:t>Criminal Approach</a:t>
            </a:r>
          </a:p>
          <a:p>
            <a:r>
              <a:rPr lang="en-US" dirty="0"/>
              <a:t>Administrative Approa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5018E4-2289-A3EF-B1F7-080156E29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495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5438A0A-7A6A-2252-3922-AAE7B2715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5EC40-7245-029F-32F3-89FE12D29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vil Vs. Criminal Investig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BF6DFFB-494A-A0B1-E478-71919371F9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609255"/>
            <a:ext cx="7886700" cy="27840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7B73EE-B89B-0304-7743-7FF3F360B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6910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FD0AD4E-9540-B35D-BF33-37E667396B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3E56A-1CFC-5CD5-FE6B-549A70DF1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istrative Investig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2571A20-6F41-777D-5BB5-DD40D9361D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2508349"/>
            <a:ext cx="7886700" cy="29858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B85D1-E0C2-DC3C-F7B9-DDE3E4A66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06077-A1A8-9A42-BD54-D5D16EB449B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073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PRESENTATIONDONOTDELETE" val="&lt;?xml version=&quot;1.0&quot; encoding=&quot;UTF-16&quot; standalone=&quot;yes&quot;?&gt;&lt;root reqver=&quot;23045&quot;&gt;&lt;version val=&quot;2518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6068954098510968009E+00&quot;&gt;&lt;m_msothmcolidx val=&quot;0&quot;/&gt;&lt;m_rgb r=&quot;A6&quot; g=&quot;00&quot; b=&quot;04&quot;/&gt;&lt;m_nBrightness val=&quot;0&quot;/&gt;&lt;/elem&gt;&lt;elem m_fUsage=&quot;4.78204629004466941211E+00&quot;&gt;&lt;m_msothmcolidx val=&quot;0&quot;/&gt;&lt;m_rgb r=&quot;1B&quot; g=&quot;5C&quot; b=&quot;1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F46216B-77A9-411A-B9D3-5023FCB7020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387079619CA84ABDCBB6E4F88691CF" ma:contentTypeVersion="0" ma:contentTypeDescription="Create a new document." ma:contentTypeScope="" ma:versionID="b280faaf8988abfc9548c2e6aa20b65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F7A013-2198-4330-9181-55968F21DE06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D6D5D5B-F05F-4D1C-9B38-0189BA5E9BB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1FA40A-9F42-4C49-B0AE-D39EE95DD1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461</TotalTime>
  <Words>1313</Words>
  <Application>Microsoft Office PowerPoint</Application>
  <PresentationFormat>On-screen Show (4:3)</PresentationFormat>
  <Paragraphs>397</Paragraphs>
  <Slides>5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65" baseType="lpstr">
      <vt:lpstr>Arial</vt:lpstr>
      <vt:lpstr>Calibri</vt:lpstr>
      <vt:lpstr>Calibri Light</vt:lpstr>
      <vt:lpstr>Simplified Arabic</vt:lpstr>
      <vt:lpstr>Wingdings</vt:lpstr>
      <vt:lpstr>Office Theme</vt:lpstr>
      <vt:lpstr>Custom Design</vt:lpstr>
      <vt:lpstr>1_Office Theme</vt:lpstr>
      <vt:lpstr>think-cell Slide</vt:lpstr>
      <vt:lpstr>PowerPoint Presentation</vt:lpstr>
      <vt:lpstr>PowerPoint Presentation</vt:lpstr>
      <vt:lpstr>Scope of Computer Forensics</vt:lpstr>
      <vt:lpstr>Cyber Crimes</vt:lpstr>
      <vt:lpstr>Examples of Cyber Crimes</vt:lpstr>
      <vt:lpstr>Cyber Attribution Techniques</vt:lpstr>
      <vt:lpstr>Cyber Crime Investigation</vt:lpstr>
      <vt:lpstr>Civil Vs. Criminal Investigation</vt:lpstr>
      <vt:lpstr>Administrative Investigation</vt:lpstr>
      <vt:lpstr>Digital Evidence</vt:lpstr>
      <vt:lpstr>Roles Digital Evidence</vt:lpstr>
      <vt:lpstr>Sources of Potential Evidence</vt:lpstr>
      <vt:lpstr>Sources of Potential Evidence</vt:lpstr>
      <vt:lpstr>Sources of Potential Evidence</vt:lpstr>
      <vt:lpstr>Sources of Potential Evidence</vt:lpstr>
      <vt:lpstr>Sources of Potential Evidence</vt:lpstr>
      <vt:lpstr>Rules of Evidence</vt:lpstr>
      <vt:lpstr>Federal Rules of Evidence</vt:lpstr>
      <vt:lpstr>Federal Rules of Evidence</vt:lpstr>
      <vt:lpstr>eDiscovery Team</vt:lpstr>
      <vt:lpstr>Handling Digital Evidence</vt:lpstr>
      <vt:lpstr>Forensic Readiness</vt:lpstr>
      <vt:lpstr>Key Principles of Forensics Readiness</vt:lpstr>
      <vt:lpstr>Incident Response Flow</vt:lpstr>
      <vt:lpstr>Threat Intelligence Role with Forensics</vt:lpstr>
      <vt:lpstr>Need for Forensic Investigator</vt:lpstr>
      <vt:lpstr>During Investigation</vt:lpstr>
      <vt:lpstr>Computer Forensics Resources</vt:lpstr>
      <vt:lpstr>Challenges</vt:lpstr>
      <vt:lpstr>Forensic Standards</vt:lpstr>
      <vt:lpstr>Forensic Standards</vt:lpstr>
      <vt:lpstr>Forensic Standards</vt:lpstr>
      <vt:lpstr>Computer Forensics International Standar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Mohammad Al Rousan</Manager>
  <Company>TAHALU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MO</dc:subject>
  <dc:creator>Mohammad AlRousan</dc:creator>
  <cp:keywords>Alerts</cp:keywords>
  <cp:lastModifiedBy>Ihab Al Taleb</cp:lastModifiedBy>
  <cp:revision>871</cp:revision>
  <cp:lastPrinted>2018-09-06T03:35:50Z</cp:lastPrinted>
  <dcterms:created xsi:type="dcterms:W3CDTF">2017-11-22T09:09:43Z</dcterms:created>
  <dcterms:modified xsi:type="dcterms:W3CDTF">2026-07-10T09:1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387079619CA84ABDCBB6E4F88691CF</vt:lpwstr>
  </property>
</Properties>
</file>